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45" r:id="rId4"/>
  </p:sldMasterIdLst>
  <p:notesMasterIdLst>
    <p:notesMasterId r:id="rId18"/>
  </p:notesMasterIdLst>
  <p:handoutMasterIdLst>
    <p:handoutMasterId r:id="rId19"/>
  </p:handoutMasterIdLst>
  <p:sldIdLst>
    <p:sldId id="436" r:id="rId5"/>
    <p:sldId id="342" r:id="rId6"/>
    <p:sldId id="502" r:id="rId7"/>
    <p:sldId id="501" r:id="rId8"/>
    <p:sldId id="503" r:id="rId9"/>
    <p:sldId id="500" r:id="rId10"/>
    <p:sldId id="504" r:id="rId11"/>
    <p:sldId id="505" r:id="rId12"/>
    <p:sldId id="506" r:id="rId13"/>
    <p:sldId id="507" r:id="rId14"/>
    <p:sldId id="508" r:id="rId15"/>
    <p:sldId id="509" r:id="rId16"/>
    <p:sldId id="497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B02A"/>
    <a:srgbClr val="86BC25"/>
    <a:srgbClr val="26890D"/>
    <a:srgbClr val="616161"/>
    <a:srgbClr val="046A38"/>
    <a:srgbClr val="3899AA"/>
    <a:srgbClr val="4FB537"/>
    <a:srgbClr val="000000"/>
    <a:srgbClr val="FFCD00"/>
    <a:srgbClr val="ED8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5" autoAdjust="0"/>
    <p:restoredTop sz="94685" autoAdjust="0"/>
  </p:normalViewPr>
  <p:slideViewPr>
    <p:cSldViewPr snapToGrid="0" showGuides="1">
      <p:cViewPr varScale="1">
        <p:scale>
          <a:sx n="115" d="100"/>
          <a:sy n="115" d="100"/>
        </p:scale>
        <p:origin x="224" y="448"/>
      </p:cViewPr>
      <p:guideLst/>
    </p:cSldViewPr>
  </p:slideViewPr>
  <p:outlineViewPr>
    <p:cViewPr>
      <p:scale>
        <a:sx n="33" d="100"/>
        <a:sy n="33" d="100"/>
      </p:scale>
      <p:origin x="0" y="-5573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29/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º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29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756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41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798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27875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9960A2D1-6860-FD0D-063F-57B08C3A7F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983" y="1734820"/>
            <a:ext cx="11277600" cy="42697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4FF97029-FEBA-3AE0-15DF-067A511D8A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1759455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C0156CF-D731-3C60-7A02-5E272940B2C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9607104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24096" y="1714500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924D527-7151-E106-CB9E-075C4A394E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0991" y="1714500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52477B-1DAD-50A5-1D34-E5530DE9B0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277208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31888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0480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069072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9464F32-91CB-5636-85D9-D693DCDFF29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3796727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944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63184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6944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63184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892540" y="1880213"/>
            <a:ext cx="3846100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04051" y="4256213"/>
            <a:ext cx="3824765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92539" y="4256213"/>
            <a:ext cx="3848355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 userDrawn="1"/>
        </p:nvSpPr>
        <p:spPr>
          <a:xfrm>
            <a:off x="6256583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 userDrawn="1"/>
        </p:nvSpPr>
        <p:spPr>
          <a:xfrm>
            <a:off x="463752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 userDrawn="1"/>
        </p:nvSpPr>
        <p:spPr>
          <a:xfrm>
            <a:off x="6256583" y="4044901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 userDrawn="1"/>
        </p:nvSpPr>
        <p:spPr>
          <a:xfrm>
            <a:off x="463752" y="4044901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9260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670E7F-2D5F-E74D-FF59-5BD6C5BC34F1}"/>
              </a:ext>
            </a:extLst>
          </p:cNvPr>
          <p:cNvSpPr/>
          <p:nvPr userDrawn="1"/>
        </p:nvSpPr>
        <p:spPr>
          <a:xfrm>
            <a:off x="6256583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D4E13F-35DC-E442-82C0-9B5EE61D2906}"/>
              </a:ext>
            </a:extLst>
          </p:cNvPr>
          <p:cNvSpPr/>
          <p:nvPr userDrawn="1"/>
        </p:nvSpPr>
        <p:spPr>
          <a:xfrm>
            <a:off x="463752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7A00D6-826F-053D-85E0-56290FB76F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131" y="1807979"/>
            <a:ext cx="5486400" cy="4345376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3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BD4F1B8-4B40-207D-993D-623E7F0E42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8518" y="1807979"/>
            <a:ext cx="5486400" cy="4345376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3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32DA993B-B409-E5C0-E8A1-3920C08FA40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0531" y="1807979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9EA35630-FAAB-0992-9BD2-E2CF77317F5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68918" y="1807979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50024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09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325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6298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5074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17111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9960A2D1-6860-FD0D-063F-57B08C3A7F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983" y="1734820"/>
            <a:ext cx="11277600" cy="42697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976919-E4FA-610F-BF36-9738A0DD352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88465573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B4AB11E-FA3A-E295-B60C-A50DDCA00B6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60719118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24096" y="1714500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7924D527-7151-E106-CB9E-075C4A394E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0991" y="1714500"/>
            <a:ext cx="3549904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D7CF08-6AC0-7857-9C8D-9F5C2914018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42998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31888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0480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069072" y="1714500"/>
            <a:ext cx="2685018" cy="42702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0048788-0863-2DD3-E0BE-FF425B7B61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1983" y="6100693"/>
            <a:ext cx="11274552" cy="265176"/>
          </a:xfrm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8963661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944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63184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6944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63184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892540" y="1880213"/>
            <a:ext cx="3846100" cy="1944000"/>
          </a:xfrm>
        </p:spPr>
        <p:txBody>
          <a:bodyPr/>
          <a:lstStyle>
            <a:lvl1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04051" y="4256213"/>
            <a:ext cx="3824765" cy="1944000"/>
          </a:xfrm>
        </p:spPr>
        <p:txBody>
          <a:bodyPr/>
          <a:lstStyle>
            <a:lvl1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92539" y="4256213"/>
            <a:ext cx="3848355" cy="1944000"/>
          </a:xfrm>
        </p:spPr>
        <p:txBody>
          <a:bodyPr/>
          <a:lstStyle>
            <a:lvl1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 userDrawn="1"/>
        </p:nvSpPr>
        <p:spPr>
          <a:xfrm>
            <a:off x="6256583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 userDrawn="1"/>
        </p:nvSpPr>
        <p:spPr>
          <a:xfrm>
            <a:off x="463752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 userDrawn="1"/>
        </p:nvSpPr>
        <p:spPr>
          <a:xfrm>
            <a:off x="6256583" y="4044901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 userDrawn="1"/>
        </p:nvSpPr>
        <p:spPr>
          <a:xfrm>
            <a:off x="463752" y="4044901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2785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FBEEC067-ABF0-2ED5-DA65-AD8DB51C62C1}"/>
              </a:ext>
            </a:extLst>
          </p:cNvPr>
          <p:cNvSpPr txBox="1">
            <a:spLocks/>
          </p:cNvSpPr>
          <p:nvPr userDrawn="1"/>
        </p:nvSpPr>
        <p:spPr>
          <a:xfrm>
            <a:off x="6257618" y="3439160"/>
            <a:ext cx="5486400" cy="2724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3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buSzTx/>
              <a:buFontTx/>
              <a:buNone/>
              <a:defRPr/>
            </a:pPr>
            <a:endParaRPr lang="en-GB" b="0" dirty="0">
              <a:solidFill>
                <a:schemeClr val="bg1"/>
              </a:solidFill>
              <a:latin typeface="Calibri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09A65E01-9669-976F-2B93-55FD4B1E6723}"/>
              </a:ext>
            </a:extLst>
          </p:cNvPr>
          <p:cNvSpPr txBox="1">
            <a:spLocks/>
          </p:cNvSpPr>
          <p:nvPr userDrawn="1"/>
        </p:nvSpPr>
        <p:spPr>
          <a:xfrm>
            <a:off x="463752" y="3429000"/>
            <a:ext cx="5486400" cy="2724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3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buSzTx/>
              <a:buFontTx/>
              <a:buNone/>
              <a:defRPr/>
            </a:pPr>
            <a:endParaRPr lang="en-GB" b="0" dirty="0">
              <a:solidFill>
                <a:schemeClr val="bg1"/>
              </a:solidFill>
              <a:latin typeface="Calibri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039CE0-592C-522C-5069-2F4764F29196}"/>
              </a:ext>
            </a:extLst>
          </p:cNvPr>
          <p:cNvSpPr/>
          <p:nvPr userDrawn="1"/>
        </p:nvSpPr>
        <p:spPr>
          <a:xfrm>
            <a:off x="6256583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071568-8841-C531-A38E-86C96E169D67}"/>
              </a:ext>
            </a:extLst>
          </p:cNvPr>
          <p:cNvSpPr/>
          <p:nvPr userDrawn="1"/>
        </p:nvSpPr>
        <p:spPr>
          <a:xfrm>
            <a:off x="463752" y="1677307"/>
            <a:ext cx="5486400" cy="60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6885FFD-EC6A-6B41-11A7-2DB74B91BC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131" y="1807979"/>
            <a:ext cx="5486400" cy="4345376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3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676240-0349-148F-A0B4-91F6EEF894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8518" y="1807979"/>
            <a:ext cx="5486400" cy="4345376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3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FBE7610-ECB4-CA89-5B4C-9B0C6E8A570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0531" y="1807979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6E7011BF-A32B-4689-4585-D2226C8A39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68918" y="1807979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51349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368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Accessibl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971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Accessible Teal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33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Accessible Blue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482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43412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88637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298209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519673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MX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integración de la inteligencia artificial en la auditoría</a:t>
            </a:r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opyright"/>
          <p:cNvSpPr txBox="1"/>
          <p:nvPr/>
        </p:nvSpPr>
        <p:spPr>
          <a:xfrm>
            <a:off x="4572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s-MX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2023 Deloitte &amp; Touche S.A.S., Deloitte Asesores y Consultores S.A.S., D Contadores S.A.S., Deloitte S.A.S. y D Profesionales S.A.S., según el servicio que presta cada una.</a:t>
            </a:r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º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34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47" r:id="rId2"/>
    <p:sldLayoutId id="2147483948" r:id="rId3"/>
    <p:sldLayoutId id="2147483994" r:id="rId4"/>
    <p:sldLayoutId id="2147483996" r:id="rId5"/>
    <p:sldLayoutId id="2147483995" r:id="rId6"/>
    <p:sldLayoutId id="2147483975" r:id="rId7"/>
    <p:sldLayoutId id="2147484001" r:id="rId8"/>
    <p:sldLayoutId id="2147484007" r:id="rId9"/>
    <p:sldLayoutId id="2147483953" r:id="rId10"/>
    <p:sldLayoutId id="2147483958" r:id="rId11"/>
    <p:sldLayoutId id="2147483959" r:id="rId12"/>
    <p:sldLayoutId id="2147483962" r:id="rId13"/>
    <p:sldLayoutId id="2147483967" r:id="rId14"/>
    <p:sldLayoutId id="2147483966" r:id="rId15"/>
    <p:sldLayoutId id="2147484006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3977" r:id="rId26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 userDrawn="1">
          <p15:clr>
            <a:srgbClr val="F26B43"/>
          </p15:clr>
        </p15:guide>
        <p15:guide id="49" orient="horz" pos="432" userDrawn="1">
          <p15:clr>
            <a:srgbClr val="F26B43"/>
          </p15:clr>
        </p15:guide>
        <p15:guide id="68" orient="horz" pos="4104" userDrawn="1">
          <p15:clr>
            <a:srgbClr val="F26B43"/>
          </p15:clr>
        </p15:guide>
        <p15:guide id="70" orient="horz" pos="1056" userDrawn="1">
          <p15:clr>
            <a:srgbClr val="F26B43"/>
          </p15:clr>
        </p15:guide>
        <p15:guide id="71" orient="horz" pos="216" userDrawn="1">
          <p15:clr>
            <a:srgbClr val="F26B43"/>
          </p15:clr>
        </p15:guide>
        <p15:guide id="72" pos="3840" userDrawn="1">
          <p15:clr>
            <a:srgbClr val="F26B43"/>
          </p15:clr>
        </p15:guide>
        <p15:guide id="73" pos="3936" userDrawn="1">
          <p15:clr>
            <a:srgbClr val="F26B43"/>
          </p15:clr>
        </p15:guide>
        <p15:guide id="74" pos="288" userDrawn="1">
          <p15:clr>
            <a:srgbClr val="F26B43"/>
          </p15:clr>
        </p15:guide>
        <p15:guide id="76" pos="3744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hyperlink" Target="mailto:svillabona@deloitte.com" TargetMode="Externa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loitte.com/co/conozcano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hand touching a screen&#10;&#10;Description automatically generated">
            <a:extLst>
              <a:ext uri="{FF2B5EF4-FFF2-40B4-BE49-F238E27FC236}">
                <a16:creationId xmlns:a16="http://schemas.microsoft.com/office/drawing/2014/main" id="{E53ED559-FB5E-87FE-D245-41BD4DCCAD0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 l="17189" t="-922" r="20444" b="-4178"/>
          <a:stretch/>
        </p:blipFill>
        <p:spPr>
          <a:xfrm>
            <a:off x="3316942" y="688848"/>
            <a:ext cx="5562600" cy="5556504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Auditoría y Assurance. Agosto 30, 202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>
                <a:solidFill>
                  <a:schemeClr val="accent3"/>
                </a:solidFill>
              </a:rPr>
              <a:t>La integración de la inteligencia artificial </a:t>
            </a:r>
            <a:br>
              <a:rPr lang="es-MX" dirty="0">
                <a:solidFill>
                  <a:schemeClr val="accent3"/>
                </a:solidFill>
              </a:rPr>
            </a:br>
            <a:r>
              <a:rPr lang="es-MX" dirty="0">
                <a:solidFill>
                  <a:schemeClr val="accent3"/>
                </a:solidFill>
              </a:rPr>
              <a:t>en la auditoría</a:t>
            </a:r>
            <a:endParaRPr lang="en-US" dirty="0"/>
          </a:p>
        </p:txBody>
      </p:sp>
      <p:pic>
        <p:nvPicPr>
          <p:cNvPr id="3" name="Picture 2" descr="Shape, logo, circle&#10;&#10;Description automatically generated">
            <a:extLst>
              <a:ext uri="{FF2B5EF4-FFF2-40B4-BE49-F238E27FC236}">
                <a16:creationId xmlns:a16="http://schemas.microsoft.com/office/drawing/2014/main" id="{C351C0D9-B53B-402C-33DC-86402B3123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5365" y="5859271"/>
            <a:ext cx="798578" cy="79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22317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298B9-FB1D-51D4-E938-2A9F2A247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afíos</a:t>
            </a:r>
            <a:r>
              <a:rPr lang="en-US" dirty="0"/>
              <a:t> y </a:t>
            </a:r>
            <a:r>
              <a:rPr lang="en-US" dirty="0" err="1"/>
              <a:t>consideraciones</a:t>
            </a:r>
            <a:r>
              <a:rPr lang="en-US" dirty="0"/>
              <a:t> </a:t>
            </a:r>
            <a:r>
              <a:rPr lang="en-US" dirty="0" err="1"/>
              <a:t>ética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088FD2-BD80-F2AA-2FC7-6536D59C5DDB}"/>
              </a:ext>
            </a:extLst>
          </p:cNvPr>
          <p:cNvSpPr txBox="1">
            <a:spLocks/>
          </p:cNvSpPr>
          <p:nvPr/>
        </p:nvSpPr>
        <p:spPr>
          <a:xfrm>
            <a:off x="1748234" y="4449763"/>
            <a:ext cx="1846263" cy="10985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b="1" dirty="0" err="1">
                <a:solidFill>
                  <a:schemeClr val="accent4"/>
                </a:solidFill>
              </a:rPr>
              <a:t>Transformación</a:t>
            </a:r>
            <a:r>
              <a:rPr lang="en-US" b="1" dirty="0">
                <a:solidFill>
                  <a:schemeClr val="accent4"/>
                </a:solidFill>
              </a:rPr>
              <a:t> cultura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275B0E4-84BB-A012-94A0-5EEC6383DEB9}"/>
              </a:ext>
            </a:extLst>
          </p:cNvPr>
          <p:cNvSpPr txBox="1">
            <a:spLocks/>
          </p:cNvSpPr>
          <p:nvPr/>
        </p:nvSpPr>
        <p:spPr>
          <a:xfrm>
            <a:off x="8712896" y="4449763"/>
            <a:ext cx="1542257" cy="10985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s-MX" b="1" dirty="0">
                <a:solidFill>
                  <a:schemeClr val="accent2"/>
                </a:solidFill>
              </a:rPr>
              <a:t>Mantenimiento de la privacidad y seguridad de los dato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FEA0A53-95AB-83E0-EB4F-FA4444086E02}"/>
              </a:ext>
            </a:extLst>
          </p:cNvPr>
          <p:cNvSpPr txBox="1">
            <a:spLocks/>
          </p:cNvSpPr>
          <p:nvPr/>
        </p:nvSpPr>
        <p:spPr>
          <a:xfrm>
            <a:off x="6274196" y="4449763"/>
            <a:ext cx="1846262" cy="10985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b="1" dirty="0">
                <a:solidFill>
                  <a:schemeClr val="accent1"/>
                </a:solidFill>
              </a:rPr>
              <a:t>Sin </a:t>
            </a:r>
            <a:r>
              <a:rPr lang="en-US" b="1" dirty="0" err="1">
                <a:solidFill>
                  <a:schemeClr val="accent1"/>
                </a:solidFill>
              </a:rPr>
              <a:t>madurez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 err="1">
                <a:solidFill>
                  <a:schemeClr val="accent1"/>
                </a:solidFill>
              </a:rPr>
              <a:t>tecnológica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D24212F-E0AD-3061-D50A-24155F7B55F8}"/>
              </a:ext>
            </a:extLst>
          </p:cNvPr>
          <p:cNvSpPr txBox="1">
            <a:spLocks/>
          </p:cNvSpPr>
          <p:nvPr/>
        </p:nvSpPr>
        <p:spPr>
          <a:xfrm>
            <a:off x="4011216" y="4449763"/>
            <a:ext cx="1846262" cy="10985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s-MX" b="1" dirty="0">
                <a:solidFill>
                  <a:srgbClr val="43B02A"/>
                </a:solidFill>
              </a:rPr>
              <a:t>Preocupaciones sobre la interpretación correcta de los resultados de I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72F1B95-38F9-267F-BDC8-FE93EDC3F024}"/>
              </a:ext>
            </a:extLst>
          </p:cNvPr>
          <p:cNvGrpSpPr/>
          <p:nvPr/>
        </p:nvGrpSpPr>
        <p:grpSpPr>
          <a:xfrm>
            <a:off x="1840310" y="1876425"/>
            <a:ext cx="1662112" cy="2338060"/>
            <a:chOff x="1852613" y="1876425"/>
            <a:chExt cx="1662112" cy="23380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1E06B19-9C53-9D59-0385-65AB303F525A}"/>
                </a:ext>
              </a:extLst>
            </p:cNvPr>
            <p:cNvSpPr/>
            <p:nvPr/>
          </p:nvSpPr>
          <p:spPr bwMode="gray">
            <a:xfrm>
              <a:off x="1852613" y="1876425"/>
              <a:ext cx="1662112" cy="1662112"/>
            </a:xfrm>
            <a:prstGeom prst="ellipse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545E2DE-23E2-3F89-5CD8-DFC324754EF9}"/>
                </a:ext>
              </a:extLst>
            </p:cNvPr>
            <p:cNvSpPr/>
            <p:nvPr/>
          </p:nvSpPr>
          <p:spPr bwMode="gray">
            <a:xfrm>
              <a:off x="2064544" y="2088356"/>
              <a:ext cx="1238250" cy="123825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accent4"/>
                </a:solidFill>
              </a:endParaRP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39657D9-EF60-9DE2-8BE5-3534241330B2}"/>
                </a:ext>
              </a:extLst>
            </p:cNvPr>
            <p:cNvSpPr/>
            <p:nvPr/>
          </p:nvSpPr>
          <p:spPr bwMode="gray">
            <a:xfrm rot="10800000">
              <a:off x="2440782" y="3795713"/>
              <a:ext cx="485775" cy="418772"/>
            </a:xfrm>
            <a:prstGeom prst="triangle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7483989-766A-02F8-ED18-6F3477C34B57}"/>
              </a:ext>
            </a:extLst>
          </p:cNvPr>
          <p:cNvGrpSpPr/>
          <p:nvPr/>
        </p:nvGrpSpPr>
        <p:grpSpPr>
          <a:xfrm>
            <a:off x="4103291" y="1876425"/>
            <a:ext cx="1662112" cy="2338060"/>
            <a:chOff x="4119563" y="1876425"/>
            <a:chExt cx="1662112" cy="233806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0DCE634-6CF1-3905-CA04-E0BC3D7B7B94}"/>
                </a:ext>
              </a:extLst>
            </p:cNvPr>
            <p:cNvSpPr/>
            <p:nvPr/>
          </p:nvSpPr>
          <p:spPr bwMode="gray">
            <a:xfrm>
              <a:off x="4119563" y="1876425"/>
              <a:ext cx="1662112" cy="1662112"/>
            </a:xfrm>
            <a:prstGeom prst="ellipse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E8A7258-72EB-9453-73CA-5BD468625CB6}"/>
                </a:ext>
              </a:extLst>
            </p:cNvPr>
            <p:cNvSpPr/>
            <p:nvPr/>
          </p:nvSpPr>
          <p:spPr bwMode="gray">
            <a:xfrm>
              <a:off x="4331494" y="2088356"/>
              <a:ext cx="1238250" cy="123825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accent3"/>
                </a:solidFill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7425C5E2-40C0-E338-0FE1-D26BEA5F7EA2}"/>
                </a:ext>
              </a:extLst>
            </p:cNvPr>
            <p:cNvSpPr/>
            <p:nvPr/>
          </p:nvSpPr>
          <p:spPr bwMode="gray">
            <a:xfrm rot="10800000">
              <a:off x="4707732" y="3795713"/>
              <a:ext cx="485775" cy="418772"/>
            </a:xfrm>
            <a:prstGeom prst="triangle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482808C-E444-C2B9-2D0F-4575A3329427}"/>
              </a:ext>
            </a:extLst>
          </p:cNvPr>
          <p:cNvGrpSpPr/>
          <p:nvPr/>
        </p:nvGrpSpPr>
        <p:grpSpPr>
          <a:xfrm>
            <a:off x="6366272" y="1876425"/>
            <a:ext cx="1662112" cy="2338060"/>
            <a:chOff x="6415088" y="1876425"/>
            <a:chExt cx="1662112" cy="233806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9C95930-6680-2D96-779E-A9D185B1A8A9}"/>
                </a:ext>
              </a:extLst>
            </p:cNvPr>
            <p:cNvSpPr/>
            <p:nvPr/>
          </p:nvSpPr>
          <p:spPr bwMode="gray">
            <a:xfrm>
              <a:off x="6415088" y="1876425"/>
              <a:ext cx="1662112" cy="1662112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573085F-052F-0282-AEE3-471AD5BB52D5}"/>
                </a:ext>
              </a:extLst>
            </p:cNvPr>
            <p:cNvSpPr/>
            <p:nvPr/>
          </p:nvSpPr>
          <p:spPr bwMode="gray">
            <a:xfrm>
              <a:off x="6627019" y="2088356"/>
              <a:ext cx="1238250" cy="123825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F29180BA-D045-9B58-E2C0-1AA1A323EC7C}"/>
                </a:ext>
              </a:extLst>
            </p:cNvPr>
            <p:cNvSpPr/>
            <p:nvPr/>
          </p:nvSpPr>
          <p:spPr bwMode="gray">
            <a:xfrm rot="10800000">
              <a:off x="7003257" y="3795713"/>
              <a:ext cx="485775" cy="418772"/>
            </a:xfrm>
            <a:prstGeom prst="triangl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860976-4A9E-C2AB-A9B3-AE739C9DC097}"/>
              </a:ext>
            </a:extLst>
          </p:cNvPr>
          <p:cNvGrpSpPr/>
          <p:nvPr/>
        </p:nvGrpSpPr>
        <p:grpSpPr>
          <a:xfrm>
            <a:off x="8629253" y="1876425"/>
            <a:ext cx="1662112" cy="2338060"/>
            <a:chOff x="8667751" y="1876425"/>
            <a:chExt cx="1662112" cy="23380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3D3AA3D-4C86-2311-2A10-2E6343842E5D}"/>
                </a:ext>
              </a:extLst>
            </p:cNvPr>
            <p:cNvSpPr/>
            <p:nvPr/>
          </p:nvSpPr>
          <p:spPr bwMode="gray">
            <a:xfrm>
              <a:off x="8667751" y="1876425"/>
              <a:ext cx="1662112" cy="1662112"/>
            </a:xfrm>
            <a:prstGeom prst="ellipse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4EED4C1-3A48-1D1A-0993-1C4D032F3FF9}"/>
                </a:ext>
              </a:extLst>
            </p:cNvPr>
            <p:cNvSpPr/>
            <p:nvPr/>
          </p:nvSpPr>
          <p:spPr bwMode="gray">
            <a:xfrm>
              <a:off x="8879682" y="2088356"/>
              <a:ext cx="1238250" cy="123825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accent2"/>
                </a:solidFill>
              </a:endParaRP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BF360D09-B63B-1412-A6C4-6DD13FC656F1}"/>
                </a:ext>
              </a:extLst>
            </p:cNvPr>
            <p:cNvSpPr/>
            <p:nvPr/>
          </p:nvSpPr>
          <p:spPr bwMode="gray">
            <a:xfrm rot="10800000">
              <a:off x="9255920" y="3795713"/>
              <a:ext cx="485775" cy="418772"/>
            </a:xfrm>
            <a:prstGeom prst="triangle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F1B03D2B-3BB2-E98E-9F31-930C07FD37BF}"/>
              </a:ext>
            </a:extLst>
          </p:cNvPr>
          <p:cNvSpPr/>
          <p:nvPr/>
        </p:nvSpPr>
        <p:spPr bwMode="gray">
          <a:xfrm>
            <a:off x="469900" y="3394470"/>
            <a:ext cx="3332957" cy="166688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13F3247-8144-8412-1B10-C2864A4F6887}"/>
              </a:ext>
            </a:extLst>
          </p:cNvPr>
          <p:cNvSpPr/>
          <p:nvPr/>
        </p:nvSpPr>
        <p:spPr bwMode="gray">
          <a:xfrm>
            <a:off x="3802857" y="3394470"/>
            <a:ext cx="2262981" cy="16668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CF7F349-6F1B-54F7-64B9-974D32C1921C}"/>
              </a:ext>
            </a:extLst>
          </p:cNvPr>
          <p:cNvSpPr/>
          <p:nvPr/>
        </p:nvSpPr>
        <p:spPr bwMode="gray">
          <a:xfrm>
            <a:off x="6065838" y="3394470"/>
            <a:ext cx="2262981" cy="166688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9A28144-4512-7C6B-6DF0-D910029CBED3}"/>
              </a:ext>
            </a:extLst>
          </p:cNvPr>
          <p:cNvSpPr/>
          <p:nvPr/>
        </p:nvSpPr>
        <p:spPr bwMode="gray">
          <a:xfrm>
            <a:off x="8328818" y="3394470"/>
            <a:ext cx="3393282" cy="166688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7" name="Graphic 4">
            <a:extLst>
              <a:ext uri="{FF2B5EF4-FFF2-40B4-BE49-F238E27FC236}">
                <a16:creationId xmlns:a16="http://schemas.microsoft.com/office/drawing/2014/main" id="{AB9D3B87-A854-B6E7-C2A4-F946C5D2F104}"/>
              </a:ext>
            </a:extLst>
          </p:cNvPr>
          <p:cNvGrpSpPr>
            <a:grpSpLocks noChangeAspect="1"/>
          </p:cNvGrpSpPr>
          <p:nvPr/>
        </p:nvGrpSpPr>
        <p:grpSpPr>
          <a:xfrm>
            <a:off x="2211981" y="2249906"/>
            <a:ext cx="914400" cy="915150"/>
            <a:chOff x="6753524" y="1402723"/>
            <a:chExt cx="361674" cy="361971"/>
          </a:xfrm>
          <a:solidFill>
            <a:srgbClr val="046A38"/>
          </a:solidFill>
        </p:grpSpPr>
        <p:sp>
          <p:nvSpPr>
            <p:cNvPr id="28" name="Graphic 4">
              <a:extLst>
                <a:ext uri="{FF2B5EF4-FFF2-40B4-BE49-F238E27FC236}">
                  <a16:creationId xmlns:a16="http://schemas.microsoft.com/office/drawing/2014/main" id="{A2F23EDA-3362-7A6D-BE8F-E676C21A3648}"/>
                </a:ext>
              </a:extLst>
            </p:cNvPr>
            <p:cNvSpPr/>
            <p:nvPr/>
          </p:nvSpPr>
          <p:spPr>
            <a:xfrm>
              <a:off x="6753524" y="1402723"/>
              <a:ext cx="361674" cy="361971"/>
            </a:xfrm>
            <a:custGeom>
              <a:avLst/>
              <a:gdLst>
                <a:gd name="connsiteX0" fmla="*/ 180835 w 361674"/>
                <a:gd name="connsiteY0" fmla="*/ 0 h 361971"/>
                <a:gd name="connsiteX1" fmla="*/ 0 w 361674"/>
                <a:gd name="connsiteY1" fmla="*/ 180667 h 361971"/>
                <a:gd name="connsiteX2" fmla="*/ 180835 w 361674"/>
                <a:gd name="connsiteY2" fmla="*/ 361972 h 361971"/>
                <a:gd name="connsiteX3" fmla="*/ 361670 w 361674"/>
                <a:gd name="connsiteY3" fmla="*/ 181305 h 361971"/>
                <a:gd name="connsiteX4" fmla="*/ 361670 w 361674"/>
                <a:gd name="connsiteY4" fmla="*/ 181305 h 361971"/>
                <a:gd name="connsiteX5" fmla="*/ 180835 w 361674"/>
                <a:gd name="connsiteY5" fmla="*/ 0 h 361971"/>
                <a:gd name="connsiteX6" fmla="*/ 180835 w 361674"/>
                <a:gd name="connsiteY6" fmla="*/ 0 h 361971"/>
                <a:gd name="connsiteX7" fmla="*/ 180835 w 361674"/>
                <a:gd name="connsiteY7" fmla="*/ 348565 h 361971"/>
                <a:gd name="connsiteX8" fmla="*/ 12780 w 361674"/>
                <a:gd name="connsiteY8" fmla="*/ 180667 h 361971"/>
                <a:gd name="connsiteX9" fmla="*/ 180835 w 361674"/>
                <a:gd name="connsiteY9" fmla="*/ 12130 h 361971"/>
                <a:gd name="connsiteX10" fmla="*/ 348890 w 361674"/>
                <a:gd name="connsiteY10" fmla="*/ 180028 h 361971"/>
                <a:gd name="connsiteX11" fmla="*/ 348890 w 361674"/>
                <a:gd name="connsiteY11" fmla="*/ 180028 h 361971"/>
                <a:gd name="connsiteX12" fmla="*/ 180835 w 361674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674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1670" y="280895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1474" y="0"/>
                    <a:pt x="181474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667"/>
                  </a:cubicBezTo>
                  <a:cubicBezTo>
                    <a:pt x="12780" y="87461"/>
                    <a:pt x="88181" y="12130"/>
                    <a:pt x="180835" y="12130"/>
                  </a:cubicBezTo>
                  <a:cubicBezTo>
                    <a:pt x="274128" y="12130"/>
                    <a:pt x="348890" y="87461"/>
                    <a:pt x="348890" y="180028"/>
                  </a:cubicBezTo>
                  <a:lnTo>
                    <a:pt x="348890" y="180028"/>
                  </a:lnTo>
                  <a:cubicBezTo>
                    <a:pt x="349529" y="273234"/>
                    <a:pt x="274128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0936022F-3506-881E-61D9-7569B56F7BCA}"/>
                </a:ext>
              </a:extLst>
            </p:cNvPr>
            <p:cNvSpPr/>
            <p:nvPr/>
          </p:nvSpPr>
          <p:spPr>
            <a:xfrm>
              <a:off x="7043627" y="1523380"/>
              <a:ext cx="12779" cy="68308"/>
            </a:xfrm>
            <a:custGeom>
              <a:avLst/>
              <a:gdLst>
                <a:gd name="connsiteX0" fmla="*/ 6390 w 12779"/>
                <a:gd name="connsiteY0" fmla="*/ 0 h 68308"/>
                <a:gd name="connsiteX1" fmla="*/ 0 w 12779"/>
                <a:gd name="connsiteY1" fmla="*/ 6384 h 68308"/>
                <a:gd name="connsiteX2" fmla="*/ 0 w 12779"/>
                <a:gd name="connsiteY2" fmla="*/ 61925 h 68308"/>
                <a:gd name="connsiteX3" fmla="*/ 6390 w 12779"/>
                <a:gd name="connsiteY3" fmla="*/ 68309 h 68308"/>
                <a:gd name="connsiteX4" fmla="*/ 12780 w 12779"/>
                <a:gd name="connsiteY4" fmla="*/ 61925 h 68308"/>
                <a:gd name="connsiteX5" fmla="*/ 12780 w 12779"/>
                <a:gd name="connsiteY5" fmla="*/ 6384 h 68308"/>
                <a:gd name="connsiteX6" fmla="*/ 6390 w 12779"/>
                <a:gd name="connsiteY6" fmla="*/ 0 h 6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8308">
                  <a:moveTo>
                    <a:pt x="6390" y="0"/>
                  </a:moveTo>
                  <a:cubicBezTo>
                    <a:pt x="2555" y="0"/>
                    <a:pt x="0" y="2554"/>
                    <a:pt x="0" y="6384"/>
                  </a:cubicBezTo>
                  <a:lnTo>
                    <a:pt x="0" y="61925"/>
                  </a:lnTo>
                  <a:cubicBezTo>
                    <a:pt x="0" y="65755"/>
                    <a:pt x="2555" y="68309"/>
                    <a:pt x="6390" y="68309"/>
                  </a:cubicBezTo>
                  <a:cubicBezTo>
                    <a:pt x="10224" y="68309"/>
                    <a:pt x="12780" y="65755"/>
                    <a:pt x="12780" y="61925"/>
                  </a:cubicBezTo>
                  <a:lnTo>
                    <a:pt x="12780" y="6384"/>
                  </a:lnTo>
                  <a:cubicBezTo>
                    <a:pt x="12780" y="2554"/>
                    <a:pt x="9585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441C9CDA-EB14-42D5-E31A-2EBBB45426AE}"/>
                </a:ext>
              </a:extLst>
            </p:cNvPr>
            <p:cNvSpPr/>
            <p:nvPr/>
          </p:nvSpPr>
          <p:spPr>
            <a:xfrm>
              <a:off x="6844261" y="1472308"/>
              <a:ext cx="38339" cy="38303"/>
            </a:xfrm>
            <a:custGeom>
              <a:avLst/>
              <a:gdLst>
                <a:gd name="connsiteX0" fmla="*/ 19170 w 38339"/>
                <a:gd name="connsiteY0" fmla="*/ 38304 h 38303"/>
                <a:gd name="connsiteX1" fmla="*/ 38340 w 38339"/>
                <a:gd name="connsiteY1" fmla="*/ 19152 h 38303"/>
                <a:gd name="connsiteX2" fmla="*/ 19170 w 38339"/>
                <a:gd name="connsiteY2" fmla="*/ 0 h 38303"/>
                <a:gd name="connsiteX3" fmla="*/ 0 w 38339"/>
                <a:gd name="connsiteY3" fmla="*/ 19152 h 38303"/>
                <a:gd name="connsiteX4" fmla="*/ 19170 w 38339"/>
                <a:gd name="connsiteY4" fmla="*/ 38304 h 38303"/>
                <a:gd name="connsiteX5" fmla="*/ 19170 w 38339"/>
                <a:gd name="connsiteY5" fmla="*/ 12130 h 38303"/>
                <a:gd name="connsiteX6" fmla="*/ 25560 w 38339"/>
                <a:gd name="connsiteY6" fmla="*/ 18514 h 38303"/>
                <a:gd name="connsiteX7" fmla="*/ 19170 w 38339"/>
                <a:gd name="connsiteY7" fmla="*/ 24897 h 38303"/>
                <a:gd name="connsiteX8" fmla="*/ 12780 w 38339"/>
                <a:gd name="connsiteY8" fmla="*/ 18514 h 38303"/>
                <a:gd name="connsiteX9" fmla="*/ 19170 w 38339"/>
                <a:gd name="connsiteY9" fmla="*/ 12130 h 3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9" h="38303">
                  <a:moveTo>
                    <a:pt x="19170" y="38304"/>
                  </a:moveTo>
                  <a:cubicBezTo>
                    <a:pt x="30033" y="38304"/>
                    <a:pt x="38340" y="30005"/>
                    <a:pt x="38340" y="19152"/>
                  </a:cubicBezTo>
                  <a:cubicBezTo>
                    <a:pt x="38340" y="8299"/>
                    <a:pt x="30033" y="0"/>
                    <a:pt x="19170" y="0"/>
                  </a:cubicBezTo>
                  <a:cubicBezTo>
                    <a:pt x="8307" y="0"/>
                    <a:pt x="0" y="8299"/>
                    <a:pt x="0" y="19152"/>
                  </a:cubicBezTo>
                  <a:cubicBezTo>
                    <a:pt x="0" y="30005"/>
                    <a:pt x="8946" y="38304"/>
                    <a:pt x="19170" y="38304"/>
                  </a:cubicBezTo>
                  <a:close/>
                  <a:moveTo>
                    <a:pt x="19170" y="12130"/>
                  </a:moveTo>
                  <a:cubicBezTo>
                    <a:pt x="23004" y="12130"/>
                    <a:pt x="25560" y="15322"/>
                    <a:pt x="25560" y="18514"/>
                  </a:cubicBezTo>
                  <a:cubicBezTo>
                    <a:pt x="25560" y="22344"/>
                    <a:pt x="22365" y="24897"/>
                    <a:pt x="19170" y="24897"/>
                  </a:cubicBezTo>
                  <a:cubicBezTo>
                    <a:pt x="15975" y="24897"/>
                    <a:pt x="12780" y="21706"/>
                    <a:pt x="12780" y="18514"/>
                  </a:cubicBezTo>
                  <a:cubicBezTo>
                    <a:pt x="12780" y="15322"/>
                    <a:pt x="15336" y="12130"/>
                    <a:pt x="19170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EB389D84-8BCF-1AD7-71EF-265B18EB61C0}"/>
                </a:ext>
              </a:extLst>
            </p:cNvPr>
            <p:cNvSpPr/>
            <p:nvPr/>
          </p:nvSpPr>
          <p:spPr>
            <a:xfrm>
              <a:off x="6832120" y="1520827"/>
              <a:ext cx="63899" cy="139809"/>
            </a:xfrm>
            <a:custGeom>
              <a:avLst/>
              <a:gdLst>
                <a:gd name="connsiteX0" fmla="*/ 56871 w 63899"/>
                <a:gd name="connsiteY0" fmla="*/ 0 h 139809"/>
                <a:gd name="connsiteX1" fmla="*/ 6390 w 63899"/>
                <a:gd name="connsiteY1" fmla="*/ 0 h 139809"/>
                <a:gd name="connsiteX2" fmla="*/ 0 w 63899"/>
                <a:gd name="connsiteY2" fmla="*/ 6384 h 139809"/>
                <a:gd name="connsiteX3" fmla="*/ 0 w 63899"/>
                <a:gd name="connsiteY3" fmla="*/ 69585 h 139809"/>
                <a:gd name="connsiteX4" fmla="*/ 6390 w 63899"/>
                <a:gd name="connsiteY4" fmla="*/ 75969 h 139809"/>
                <a:gd name="connsiteX5" fmla="*/ 13419 w 63899"/>
                <a:gd name="connsiteY5" fmla="*/ 75969 h 139809"/>
                <a:gd name="connsiteX6" fmla="*/ 13419 w 63899"/>
                <a:gd name="connsiteY6" fmla="*/ 133425 h 139809"/>
                <a:gd name="connsiteX7" fmla="*/ 19809 w 63899"/>
                <a:gd name="connsiteY7" fmla="*/ 139809 h 139809"/>
                <a:gd name="connsiteX8" fmla="*/ 26199 w 63899"/>
                <a:gd name="connsiteY8" fmla="*/ 133425 h 139809"/>
                <a:gd name="connsiteX9" fmla="*/ 26199 w 63899"/>
                <a:gd name="connsiteY9" fmla="*/ 75969 h 139809"/>
                <a:gd name="connsiteX10" fmla="*/ 39618 w 63899"/>
                <a:gd name="connsiteY10" fmla="*/ 75969 h 139809"/>
                <a:gd name="connsiteX11" fmla="*/ 39618 w 63899"/>
                <a:gd name="connsiteY11" fmla="*/ 133425 h 139809"/>
                <a:gd name="connsiteX12" fmla="*/ 46008 w 63899"/>
                <a:gd name="connsiteY12" fmla="*/ 139809 h 139809"/>
                <a:gd name="connsiteX13" fmla="*/ 52398 w 63899"/>
                <a:gd name="connsiteY13" fmla="*/ 133425 h 139809"/>
                <a:gd name="connsiteX14" fmla="*/ 52398 w 63899"/>
                <a:gd name="connsiteY14" fmla="*/ 75969 h 139809"/>
                <a:gd name="connsiteX15" fmla="*/ 57509 w 63899"/>
                <a:gd name="connsiteY15" fmla="*/ 75969 h 139809"/>
                <a:gd name="connsiteX16" fmla="*/ 63899 w 63899"/>
                <a:gd name="connsiteY16" fmla="*/ 69585 h 139809"/>
                <a:gd name="connsiteX17" fmla="*/ 63899 w 63899"/>
                <a:gd name="connsiteY17" fmla="*/ 6384 h 139809"/>
                <a:gd name="connsiteX18" fmla="*/ 56871 w 63899"/>
                <a:gd name="connsiteY18" fmla="*/ 0 h 139809"/>
                <a:gd name="connsiteX19" fmla="*/ 56871 w 63899"/>
                <a:gd name="connsiteY19" fmla="*/ 0 h 139809"/>
                <a:gd name="connsiteX20" fmla="*/ 12780 w 63899"/>
                <a:gd name="connsiteY20" fmla="*/ 12768 h 139809"/>
                <a:gd name="connsiteX21" fmla="*/ 50481 w 63899"/>
                <a:gd name="connsiteY21" fmla="*/ 12768 h 139809"/>
                <a:gd name="connsiteX22" fmla="*/ 50481 w 63899"/>
                <a:gd name="connsiteY22" fmla="*/ 63201 h 139809"/>
                <a:gd name="connsiteX23" fmla="*/ 12780 w 63899"/>
                <a:gd name="connsiteY23" fmla="*/ 63201 h 139809"/>
                <a:gd name="connsiteX24" fmla="*/ 12780 w 63899"/>
                <a:gd name="connsiteY24" fmla="*/ 12768 h 139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899" h="139809">
                  <a:moveTo>
                    <a:pt x="56871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69585"/>
                  </a:lnTo>
                  <a:cubicBezTo>
                    <a:pt x="0" y="73416"/>
                    <a:pt x="2556" y="75969"/>
                    <a:pt x="6390" y="75969"/>
                  </a:cubicBezTo>
                  <a:lnTo>
                    <a:pt x="13419" y="75969"/>
                  </a:lnTo>
                  <a:lnTo>
                    <a:pt x="13419" y="133425"/>
                  </a:lnTo>
                  <a:cubicBezTo>
                    <a:pt x="13419" y="137256"/>
                    <a:pt x="15975" y="139809"/>
                    <a:pt x="19809" y="139809"/>
                  </a:cubicBezTo>
                  <a:cubicBezTo>
                    <a:pt x="23643" y="139809"/>
                    <a:pt x="26199" y="137256"/>
                    <a:pt x="26199" y="133425"/>
                  </a:cubicBezTo>
                  <a:lnTo>
                    <a:pt x="26199" y="75969"/>
                  </a:lnTo>
                  <a:lnTo>
                    <a:pt x="39618" y="75969"/>
                  </a:lnTo>
                  <a:lnTo>
                    <a:pt x="39618" y="133425"/>
                  </a:lnTo>
                  <a:cubicBezTo>
                    <a:pt x="39618" y="137256"/>
                    <a:pt x="42174" y="139809"/>
                    <a:pt x="46008" y="139809"/>
                  </a:cubicBezTo>
                  <a:cubicBezTo>
                    <a:pt x="49842" y="139809"/>
                    <a:pt x="52398" y="137256"/>
                    <a:pt x="52398" y="133425"/>
                  </a:cubicBezTo>
                  <a:lnTo>
                    <a:pt x="52398" y="75969"/>
                  </a:lnTo>
                  <a:lnTo>
                    <a:pt x="57509" y="75969"/>
                  </a:lnTo>
                  <a:cubicBezTo>
                    <a:pt x="61344" y="75969"/>
                    <a:pt x="63899" y="73416"/>
                    <a:pt x="63899" y="69585"/>
                  </a:cubicBezTo>
                  <a:lnTo>
                    <a:pt x="63899" y="6384"/>
                  </a:lnTo>
                  <a:cubicBezTo>
                    <a:pt x="63261" y="3192"/>
                    <a:pt x="60066" y="0"/>
                    <a:pt x="56871" y="0"/>
                  </a:cubicBezTo>
                  <a:lnTo>
                    <a:pt x="56871" y="0"/>
                  </a:lnTo>
                  <a:close/>
                  <a:moveTo>
                    <a:pt x="12780" y="12768"/>
                  </a:moveTo>
                  <a:lnTo>
                    <a:pt x="50481" y="12768"/>
                  </a:lnTo>
                  <a:lnTo>
                    <a:pt x="50481" y="63201"/>
                  </a:lnTo>
                  <a:lnTo>
                    <a:pt x="12780" y="63201"/>
                  </a:lnTo>
                  <a:lnTo>
                    <a:pt x="12780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C7E71D36-B62E-D4A3-E962-CF4265E27F2C}"/>
                </a:ext>
              </a:extLst>
            </p:cNvPr>
            <p:cNvSpPr/>
            <p:nvPr/>
          </p:nvSpPr>
          <p:spPr>
            <a:xfrm>
              <a:off x="6986757" y="1473585"/>
              <a:ext cx="38339" cy="38303"/>
            </a:xfrm>
            <a:custGeom>
              <a:avLst/>
              <a:gdLst>
                <a:gd name="connsiteX0" fmla="*/ 19170 w 38339"/>
                <a:gd name="connsiteY0" fmla="*/ 38304 h 38303"/>
                <a:gd name="connsiteX1" fmla="*/ 38340 w 38339"/>
                <a:gd name="connsiteY1" fmla="*/ 19152 h 38303"/>
                <a:gd name="connsiteX2" fmla="*/ 19170 w 38339"/>
                <a:gd name="connsiteY2" fmla="*/ 0 h 38303"/>
                <a:gd name="connsiteX3" fmla="*/ 0 w 38339"/>
                <a:gd name="connsiteY3" fmla="*/ 19152 h 38303"/>
                <a:gd name="connsiteX4" fmla="*/ 19170 w 38339"/>
                <a:gd name="connsiteY4" fmla="*/ 38304 h 38303"/>
                <a:gd name="connsiteX5" fmla="*/ 19170 w 38339"/>
                <a:gd name="connsiteY5" fmla="*/ 12768 h 38303"/>
                <a:gd name="connsiteX6" fmla="*/ 25560 w 38339"/>
                <a:gd name="connsiteY6" fmla="*/ 19152 h 38303"/>
                <a:gd name="connsiteX7" fmla="*/ 19170 w 38339"/>
                <a:gd name="connsiteY7" fmla="*/ 25536 h 38303"/>
                <a:gd name="connsiteX8" fmla="*/ 12780 w 38339"/>
                <a:gd name="connsiteY8" fmla="*/ 19152 h 38303"/>
                <a:gd name="connsiteX9" fmla="*/ 19170 w 38339"/>
                <a:gd name="connsiteY9" fmla="*/ 12768 h 3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9" h="38303">
                  <a:moveTo>
                    <a:pt x="19170" y="38304"/>
                  </a:moveTo>
                  <a:cubicBezTo>
                    <a:pt x="30032" y="38304"/>
                    <a:pt x="38340" y="30005"/>
                    <a:pt x="38340" y="19152"/>
                  </a:cubicBezTo>
                  <a:cubicBezTo>
                    <a:pt x="38340" y="8299"/>
                    <a:pt x="30032" y="0"/>
                    <a:pt x="19170" y="0"/>
                  </a:cubicBezTo>
                  <a:cubicBezTo>
                    <a:pt x="8306" y="0"/>
                    <a:pt x="0" y="8299"/>
                    <a:pt x="0" y="19152"/>
                  </a:cubicBezTo>
                  <a:cubicBezTo>
                    <a:pt x="0" y="30005"/>
                    <a:pt x="8306" y="38304"/>
                    <a:pt x="19170" y="38304"/>
                  </a:cubicBezTo>
                  <a:close/>
                  <a:moveTo>
                    <a:pt x="19170" y="12768"/>
                  </a:moveTo>
                  <a:cubicBezTo>
                    <a:pt x="23004" y="12768"/>
                    <a:pt x="25560" y="15322"/>
                    <a:pt x="25560" y="19152"/>
                  </a:cubicBezTo>
                  <a:cubicBezTo>
                    <a:pt x="25560" y="22982"/>
                    <a:pt x="23004" y="25536"/>
                    <a:pt x="19170" y="25536"/>
                  </a:cubicBezTo>
                  <a:cubicBezTo>
                    <a:pt x="15336" y="25536"/>
                    <a:pt x="12780" y="22982"/>
                    <a:pt x="12780" y="19152"/>
                  </a:cubicBezTo>
                  <a:cubicBezTo>
                    <a:pt x="12780" y="15322"/>
                    <a:pt x="15336" y="12768"/>
                    <a:pt x="1917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id="{E18AD069-1CDA-2D72-BC49-DEDA0AA4BB3E}"/>
                </a:ext>
              </a:extLst>
            </p:cNvPr>
            <p:cNvSpPr/>
            <p:nvPr/>
          </p:nvSpPr>
          <p:spPr>
            <a:xfrm>
              <a:off x="6973977" y="1522104"/>
              <a:ext cx="63260" cy="138532"/>
            </a:xfrm>
            <a:custGeom>
              <a:avLst/>
              <a:gdLst>
                <a:gd name="connsiteX0" fmla="*/ 56871 w 63260"/>
                <a:gd name="connsiteY0" fmla="*/ 0 h 138532"/>
                <a:gd name="connsiteX1" fmla="*/ 6390 w 63260"/>
                <a:gd name="connsiteY1" fmla="*/ 0 h 138532"/>
                <a:gd name="connsiteX2" fmla="*/ 0 w 63260"/>
                <a:gd name="connsiteY2" fmla="*/ 6384 h 138532"/>
                <a:gd name="connsiteX3" fmla="*/ 0 w 63260"/>
                <a:gd name="connsiteY3" fmla="*/ 68947 h 138532"/>
                <a:gd name="connsiteX4" fmla="*/ 6390 w 63260"/>
                <a:gd name="connsiteY4" fmla="*/ 75331 h 138532"/>
                <a:gd name="connsiteX5" fmla="*/ 12780 w 63260"/>
                <a:gd name="connsiteY5" fmla="*/ 75331 h 138532"/>
                <a:gd name="connsiteX6" fmla="*/ 12780 w 63260"/>
                <a:gd name="connsiteY6" fmla="*/ 132148 h 138532"/>
                <a:gd name="connsiteX7" fmla="*/ 19170 w 63260"/>
                <a:gd name="connsiteY7" fmla="*/ 138532 h 138532"/>
                <a:gd name="connsiteX8" fmla="*/ 25560 w 63260"/>
                <a:gd name="connsiteY8" fmla="*/ 132148 h 138532"/>
                <a:gd name="connsiteX9" fmla="*/ 25560 w 63260"/>
                <a:gd name="connsiteY9" fmla="*/ 75331 h 138532"/>
                <a:gd name="connsiteX10" fmla="*/ 38978 w 63260"/>
                <a:gd name="connsiteY10" fmla="*/ 75331 h 138532"/>
                <a:gd name="connsiteX11" fmla="*/ 38978 w 63260"/>
                <a:gd name="connsiteY11" fmla="*/ 132148 h 138532"/>
                <a:gd name="connsiteX12" fmla="*/ 45368 w 63260"/>
                <a:gd name="connsiteY12" fmla="*/ 138532 h 138532"/>
                <a:gd name="connsiteX13" fmla="*/ 51758 w 63260"/>
                <a:gd name="connsiteY13" fmla="*/ 132148 h 138532"/>
                <a:gd name="connsiteX14" fmla="*/ 51758 w 63260"/>
                <a:gd name="connsiteY14" fmla="*/ 75331 h 138532"/>
                <a:gd name="connsiteX15" fmla="*/ 56871 w 63260"/>
                <a:gd name="connsiteY15" fmla="*/ 75331 h 138532"/>
                <a:gd name="connsiteX16" fmla="*/ 63261 w 63260"/>
                <a:gd name="connsiteY16" fmla="*/ 68947 h 138532"/>
                <a:gd name="connsiteX17" fmla="*/ 63261 w 63260"/>
                <a:gd name="connsiteY17" fmla="*/ 6384 h 138532"/>
                <a:gd name="connsiteX18" fmla="*/ 56871 w 63260"/>
                <a:gd name="connsiteY18" fmla="*/ 0 h 138532"/>
                <a:gd name="connsiteX19" fmla="*/ 13419 w 63260"/>
                <a:gd name="connsiteY19" fmla="*/ 12768 h 138532"/>
                <a:gd name="connsiteX20" fmla="*/ 51119 w 63260"/>
                <a:gd name="connsiteY20" fmla="*/ 12768 h 138532"/>
                <a:gd name="connsiteX21" fmla="*/ 51119 w 63260"/>
                <a:gd name="connsiteY21" fmla="*/ 62563 h 138532"/>
                <a:gd name="connsiteX22" fmla="*/ 13419 w 63260"/>
                <a:gd name="connsiteY22" fmla="*/ 62563 h 138532"/>
                <a:gd name="connsiteX23" fmla="*/ 13419 w 63260"/>
                <a:gd name="connsiteY23" fmla="*/ 12768 h 13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260" h="138532">
                  <a:moveTo>
                    <a:pt x="56871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68947"/>
                  </a:lnTo>
                  <a:cubicBezTo>
                    <a:pt x="0" y="72777"/>
                    <a:pt x="2556" y="75331"/>
                    <a:pt x="6390" y="75331"/>
                  </a:cubicBezTo>
                  <a:lnTo>
                    <a:pt x="12780" y="75331"/>
                  </a:lnTo>
                  <a:lnTo>
                    <a:pt x="12780" y="132148"/>
                  </a:lnTo>
                  <a:cubicBezTo>
                    <a:pt x="12780" y="135979"/>
                    <a:pt x="15336" y="138532"/>
                    <a:pt x="19170" y="138532"/>
                  </a:cubicBezTo>
                  <a:cubicBezTo>
                    <a:pt x="23004" y="138532"/>
                    <a:pt x="25560" y="135979"/>
                    <a:pt x="25560" y="132148"/>
                  </a:cubicBezTo>
                  <a:lnTo>
                    <a:pt x="25560" y="75331"/>
                  </a:lnTo>
                  <a:lnTo>
                    <a:pt x="38978" y="75331"/>
                  </a:lnTo>
                  <a:lnTo>
                    <a:pt x="38978" y="132148"/>
                  </a:lnTo>
                  <a:cubicBezTo>
                    <a:pt x="38978" y="135979"/>
                    <a:pt x="41535" y="138532"/>
                    <a:pt x="45368" y="138532"/>
                  </a:cubicBezTo>
                  <a:cubicBezTo>
                    <a:pt x="49202" y="138532"/>
                    <a:pt x="51758" y="135979"/>
                    <a:pt x="51758" y="132148"/>
                  </a:cubicBezTo>
                  <a:lnTo>
                    <a:pt x="51758" y="75331"/>
                  </a:lnTo>
                  <a:lnTo>
                    <a:pt x="56871" y="75331"/>
                  </a:lnTo>
                  <a:cubicBezTo>
                    <a:pt x="60704" y="75331"/>
                    <a:pt x="63261" y="72777"/>
                    <a:pt x="63261" y="68947"/>
                  </a:cubicBezTo>
                  <a:lnTo>
                    <a:pt x="63261" y="6384"/>
                  </a:lnTo>
                  <a:cubicBezTo>
                    <a:pt x="63261" y="3192"/>
                    <a:pt x="60704" y="638"/>
                    <a:pt x="56871" y="0"/>
                  </a:cubicBezTo>
                  <a:close/>
                  <a:moveTo>
                    <a:pt x="13419" y="12768"/>
                  </a:moveTo>
                  <a:lnTo>
                    <a:pt x="51119" y="12768"/>
                  </a:lnTo>
                  <a:lnTo>
                    <a:pt x="51119" y="62563"/>
                  </a:lnTo>
                  <a:lnTo>
                    <a:pt x="13419" y="62563"/>
                  </a:lnTo>
                  <a:lnTo>
                    <a:pt x="13419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546228DC-7A08-EEE4-F5F4-FED6A18AAE34}"/>
                </a:ext>
              </a:extLst>
            </p:cNvPr>
            <p:cNvSpPr/>
            <p:nvPr/>
          </p:nvSpPr>
          <p:spPr>
            <a:xfrm>
              <a:off x="6812950" y="1522104"/>
              <a:ext cx="12779" cy="68947"/>
            </a:xfrm>
            <a:custGeom>
              <a:avLst/>
              <a:gdLst>
                <a:gd name="connsiteX0" fmla="*/ 6390 w 12779"/>
                <a:gd name="connsiteY0" fmla="*/ 0 h 68947"/>
                <a:gd name="connsiteX1" fmla="*/ 0 w 12779"/>
                <a:gd name="connsiteY1" fmla="*/ 6384 h 68947"/>
                <a:gd name="connsiteX2" fmla="*/ 0 w 12779"/>
                <a:gd name="connsiteY2" fmla="*/ 62563 h 68947"/>
                <a:gd name="connsiteX3" fmla="*/ 6390 w 12779"/>
                <a:gd name="connsiteY3" fmla="*/ 68947 h 68947"/>
                <a:gd name="connsiteX4" fmla="*/ 12780 w 12779"/>
                <a:gd name="connsiteY4" fmla="*/ 62563 h 68947"/>
                <a:gd name="connsiteX5" fmla="*/ 12780 w 12779"/>
                <a:gd name="connsiteY5" fmla="*/ 6384 h 68947"/>
                <a:gd name="connsiteX6" fmla="*/ 6390 w 12779"/>
                <a:gd name="connsiteY6" fmla="*/ 0 h 68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894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62563"/>
                  </a:lnTo>
                  <a:cubicBezTo>
                    <a:pt x="0" y="66393"/>
                    <a:pt x="2556" y="68947"/>
                    <a:pt x="6390" y="68947"/>
                  </a:cubicBezTo>
                  <a:cubicBezTo>
                    <a:pt x="10225" y="68947"/>
                    <a:pt x="12780" y="66393"/>
                    <a:pt x="12780" y="62563"/>
                  </a:cubicBezTo>
                  <a:lnTo>
                    <a:pt x="12780" y="6384"/>
                  </a:lnTo>
                  <a:cubicBezTo>
                    <a:pt x="12780" y="2554"/>
                    <a:pt x="10225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A65FAB1D-106D-66F6-3651-04471D8EB979}"/>
                </a:ext>
              </a:extLst>
            </p:cNvPr>
            <p:cNvSpPr/>
            <p:nvPr/>
          </p:nvSpPr>
          <p:spPr>
            <a:xfrm>
              <a:off x="6917106" y="1519550"/>
              <a:ext cx="38339" cy="38942"/>
            </a:xfrm>
            <a:custGeom>
              <a:avLst/>
              <a:gdLst>
                <a:gd name="connsiteX0" fmla="*/ 19170 w 38339"/>
                <a:gd name="connsiteY0" fmla="*/ 38942 h 38942"/>
                <a:gd name="connsiteX1" fmla="*/ 38340 w 38339"/>
                <a:gd name="connsiteY1" fmla="*/ 19790 h 38942"/>
                <a:gd name="connsiteX2" fmla="*/ 38340 w 38339"/>
                <a:gd name="connsiteY2" fmla="*/ 19152 h 38942"/>
                <a:gd name="connsiteX3" fmla="*/ 38340 w 38339"/>
                <a:gd name="connsiteY3" fmla="*/ 18514 h 38942"/>
                <a:gd name="connsiteX4" fmla="*/ 18531 w 38339"/>
                <a:gd name="connsiteY4" fmla="*/ 0 h 38942"/>
                <a:gd name="connsiteX5" fmla="*/ 0 w 38339"/>
                <a:gd name="connsiteY5" fmla="*/ 19790 h 38942"/>
                <a:gd name="connsiteX6" fmla="*/ 19170 w 38339"/>
                <a:gd name="connsiteY6" fmla="*/ 38942 h 38942"/>
                <a:gd name="connsiteX7" fmla="*/ 19170 w 38339"/>
                <a:gd name="connsiteY7" fmla="*/ 38942 h 38942"/>
                <a:gd name="connsiteX8" fmla="*/ 12780 w 38339"/>
                <a:gd name="connsiteY8" fmla="*/ 19790 h 38942"/>
                <a:gd name="connsiteX9" fmla="*/ 19170 w 38339"/>
                <a:gd name="connsiteY9" fmla="*/ 13406 h 38942"/>
                <a:gd name="connsiteX10" fmla="*/ 25560 w 38339"/>
                <a:gd name="connsiteY10" fmla="*/ 19790 h 38942"/>
                <a:gd name="connsiteX11" fmla="*/ 19170 w 38339"/>
                <a:gd name="connsiteY11" fmla="*/ 26174 h 38942"/>
                <a:gd name="connsiteX12" fmla="*/ 13419 w 38339"/>
                <a:gd name="connsiteY12" fmla="*/ 22344 h 38942"/>
                <a:gd name="connsiteX13" fmla="*/ 12780 w 38339"/>
                <a:gd name="connsiteY13" fmla="*/ 19790 h 38942"/>
                <a:gd name="connsiteX14" fmla="*/ 12780 w 38339"/>
                <a:gd name="connsiteY14" fmla="*/ 19790 h 3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339" h="38942">
                  <a:moveTo>
                    <a:pt x="19170" y="38942"/>
                  </a:moveTo>
                  <a:cubicBezTo>
                    <a:pt x="30032" y="38942"/>
                    <a:pt x="38340" y="30643"/>
                    <a:pt x="38340" y="19790"/>
                  </a:cubicBezTo>
                  <a:cubicBezTo>
                    <a:pt x="38340" y="19790"/>
                    <a:pt x="38340" y="19152"/>
                    <a:pt x="38340" y="19152"/>
                  </a:cubicBezTo>
                  <a:cubicBezTo>
                    <a:pt x="38340" y="19152"/>
                    <a:pt x="38340" y="19152"/>
                    <a:pt x="38340" y="18514"/>
                  </a:cubicBezTo>
                  <a:cubicBezTo>
                    <a:pt x="37701" y="7661"/>
                    <a:pt x="28755" y="0"/>
                    <a:pt x="18531" y="0"/>
                  </a:cubicBezTo>
                  <a:cubicBezTo>
                    <a:pt x="7668" y="638"/>
                    <a:pt x="0" y="9576"/>
                    <a:pt x="0" y="19790"/>
                  </a:cubicBezTo>
                  <a:cubicBezTo>
                    <a:pt x="639" y="31282"/>
                    <a:pt x="8946" y="38942"/>
                    <a:pt x="19170" y="38942"/>
                  </a:cubicBezTo>
                  <a:lnTo>
                    <a:pt x="19170" y="38942"/>
                  </a:lnTo>
                  <a:close/>
                  <a:moveTo>
                    <a:pt x="12780" y="19790"/>
                  </a:moveTo>
                  <a:cubicBezTo>
                    <a:pt x="12780" y="15960"/>
                    <a:pt x="15336" y="13406"/>
                    <a:pt x="19170" y="13406"/>
                  </a:cubicBezTo>
                  <a:cubicBezTo>
                    <a:pt x="23004" y="13406"/>
                    <a:pt x="25560" y="15960"/>
                    <a:pt x="25560" y="19790"/>
                  </a:cubicBezTo>
                  <a:cubicBezTo>
                    <a:pt x="25560" y="23621"/>
                    <a:pt x="23004" y="26174"/>
                    <a:pt x="19170" y="26174"/>
                  </a:cubicBezTo>
                  <a:cubicBezTo>
                    <a:pt x="16614" y="26174"/>
                    <a:pt x="14697" y="24898"/>
                    <a:pt x="13419" y="22344"/>
                  </a:cubicBezTo>
                  <a:cubicBezTo>
                    <a:pt x="12780" y="21706"/>
                    <a:pt x="12780" y="20429"/>
                    <a:pt x="12780" y="19790"/>
                  </a:cubicBezTo>
                  <a:lnTo>
                    <a:pt x="12780" y="1979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D11847C2-5439-BFE8-50BF-85F613111B07}"/>
                </a:ext>
              </a:extLst>
            </p:cNvPr>
            <p:cNvSpPr/>
            <p:nvPr/>
          </p:nvSpPr>
          <p:spPr>
            <a:xfrm>
              <a:off x="6909318" y="1568068"/>
              <a:ext cx="55325" cy="139170"/>
            </a:xfrm>
            <a:custGeom>
              <a:avLst/>
              <a:gdLst>
                <a:gd name="connsiteX0" fmla="*/ 34626 w 55325"/>
                <a:gd name="connsiteY0" fmla="*/ 0 h 139170"/>
                <a:gd name="connsiteX1" fmla="*/ 20569 w 55325"/>
                <a:gd name="connsiteY1" fmla="*/ 0 h 139170"/>
                <a:gd name="connsiteX2" fmla="*/ 14179 w 55325"/>
                <a:gd name="connsiteY2" fmla="*/ 5107 h 139170"/>
                <a:gd name="connsiteX3" fmla="*/ 121 w 55325"/>
                <a:gd name="connsiteY3" fmla="*/ 73416 h 139170"/>
                <a:gd name="connsiteX4" fmla="*/ 5233 w 55325"/>
                <a:gd name="connsiteY4" fmla="*/ 81077 h 139170"/>
                <a:gd name="connsiteX5" fmla="*/ 6511 w 55325"/>
                <a:gd name="connsiteY5" fmla="*/ 81077 h 139170"/>
                <a:gd name="connsiteX6" fmla="*/ 7789 w 55325"/>
                <a:gd name="connsiteY6" fmla="*/ 81077 h 139170"/>
                <a:gd name="connsiteX7" fmla="*/ 7789 w 55325"/>
                <a:gd name="connsiteY7" fmla="*/ 132787 h 139170"/>
                <a:gd name="connsiteX8" fmla="*/ 14179 w 55325"/>
                <a:gd name="connsiteY8" fmla="*/ 139171 h 139170"/>
                <a:gd name="connsiteX9" fmla="*/ 20569 w 55325"/>
                <a:gd name="connsiteY9" fmla="*/ 132787 h 139170"/>
                <a:gd name="connsiteX10" fmla="*/ 20569 w 55325"/>
                <a:gd name="connsiteY10" fmla="*/ 81077 h 139170"/>
                <a:gd name="connsiteX11" fmla="*/ 34626 w 55325"/>
                <a:gd name="connsiteY11" fmla="*/ 81077 h 139170"/>
                <a:gd name="connsiteX12" fmla="*/ 34626 w 55325"/>
                <a:gd name="connsiteY12" fmla="*/ 132787 h 139170"/>
                <a:gd name="connsiteX13" fmla="*/ 41016 w 55325"/>
                <a:gd name="connsiteY13" fmla="*/ 139171 h 139170"/>
                <a:gd name="connsiteX14" fmla="*/ 47406 w 55325"/>
                <a:gd name="connsiteY14" fmla="*/ 132787 h 139170"/>
                <a:gd name="connsiteX15" fmla="*/ 47406 w 55325"/>
                <a:gd name="connsiteY15" fmla="*/ 81077 h 139170"/>
                <a:gd name="connsiteX16" fmla="*/ 48685 w 55325"/>
                <a:gd name="connsiteY16" fmla="*/ 81077 h 139170"/>
                <a:gd name="connsiteX17" fmla="*/ 53796 w 55325"/>
                <a:gd name="connsiteY17" fmla="*/ 78523 h 139170"/>
                <a:gd name="connsiteX18" fmla="*/ 55075 w 55325"/>
                <a:gd name="connsiteY18" fmla="*/ 73416 h 139170"/>
                <a:gd name="connsiteX19" fmla="*/ 41016 w 55325"/>
                <a:gd name="connsiteY19" fmla="*/ 5107 h 139170"/>
                <a:gd name="connsiteX20" fmla="*/ 34626 w 55325"/>
                <a:gd name="connsiteY20" fmla="*/ 0 h 139170"/>
                <a:gd name="connsiteX21" fmla="*/ 14818 w 55325"/>
                <a:gd name="connsiteY21" fmla="*/ 68309 h 139170"/>
                <a:gd name="connsiteX22" fmla="*/ 26320 w 55325"/>
                <a:gd name="connsiteY22" fmla="*/ 12768 h 139170"/>
                <a:gd name="connsiteX23" fmla="*/ 29515 w 55325"/>
                <a:gd name="connsiteY23" fmla="*/ 12768 h 139170"/>
                <a:gd name="connsiteX24" fmla="*/ 41016 w 55325"/>
                <a:gd name="connsiteY24" fmla="*/ 68309 h 139170"/>
                <a:gd name="connsiteX25" fmla="*/ 14818 w 55325"/>
                <a:gd name="connsiteY25" fmla="*/ 68309 h 13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5325" h="139170">
                  <a:moveTo>
                    <a:pt x="34626" y="0"/>
                  </a:moveTo>
                  <a:lnTo>
                    <a:pt x="20569" y="0"/>
                  </a:lnTo>
                  <a:cubicBezTo>
                    <a:pt x="17374" y="0"/>
                    <a:pt x="14818" y="1915"/>
                    <a:pt x="14179" y="5107"/>
                  </a:cubicBezTo>
                  <a:lnTo>
                    <a:pt x="121" y="73416"/>
                  </a:lnTo>
                  <a:cubicBezTo>
                    <a:pt x="-518" y="76608"/>
                    <a:pt x="1399" y="80438"/>
                    <a:pt x="5233" y="81077"/>
                  </a:cubicBezTo>
                  <a:cubicBezTo>
                    <a:pt x="5872" y="81077"/>
                    <a:pt x="5872" y="81077"/>
                    <a:pt x="6511" y="81077"/>
                  </a:cubicBezTo>
                  <a:lnTo>
                    <a:pt x="7789" y="81077"/>
                  </a:lnTo>
                  <a:lnTo>
                    <a:pt x="7789" y="132787"/>
                  </a:lnTo>
                  <a:cubicBezTo>
                    <a:pt x="7789" y="136617"/>
                    <a:pt x="10345" y="139171"/>
                    <a:pt x="14179" y="139171"/>
                  </a:cubicBezTo>
                  <a:cubicBezTo>
                    <a:pt x="18013" y="139171"/>
                    <a:pt x="20569" y="136617"/>
                    <a:pt x="20569" y="132787"/>
                  </a:cubicBezTo>
                  <a:lnTo>
                    <a:pt x="20569" y="81077"/>
                  </a:lnTo>
                  <a:lnTo>
                    <a:pt x="34626" y="81077"/>
                  </a:lnTo>
                  <a:lnTo>
                    <a:pt x="34626" y="132787"/>
                  </a:lnTo>
                  <a:cubicBezTo>
                    <a:pt x="34626" y="136617"/>
                    <a:pt x="37182" y="139171"/>
                    <a:pt x="41016" y="139171"/>
                  </a:cubicBezTo>
                  <a:cubicBezTo>
                    <a:pt x="44851" y="139171"/>
                    <a:pt x="47406" y="136617"/>
                    <a:pt x="47406" y="132787"/>
                  </a:cubicBezTo>
                  <a:lnTo>
                    <a:pt x="47406" y="81077"/>
                  </a:lnTo>
                  <a:lnTo>
                    <a:pt x="48685" y="81077"/>
                  </a:lnTo>
                  <a:cubicBezTo>
                    <a:pt x="50601" y="81077"/>
                    <a:pt x="52518" y="80438"/>
                    <a:pt x="53796" y="78523"/>
                  </a:cubicBezTo>
                  <a:cubicBezTo>
                    <a:pt x="55075" y="77246"/>
                    <a:pt x="55713" y="75331"/>
                    <a:pt x="55075" y="73416"/>
                  </a:cubicBezTo>
                  <a:lnTo>
                    <a:pt x="41016" y="5107"/>
                  </a:lnTo>
                  <a:cubicBezTo>
                    <a:pt x="40377" y="1915"/>
                    <a:pt x="37182" y="0"/>
                    <a:pt x="34626" y="0"/>
                  </a:cubicBezTo>
                  <a:close/>
                  <a:moveTo>
                    <a:pt x="14818" y="68309"/>
                  </a:moveTo>
                  <a:lnTo>
                    <a:pt x="26320" y="12768"/>
                  </a:lnTo>
                  <a:lnTo>
                    <a:pt x="29515" y="12768"/>
                  </a:lnTo>
                  <a:lnTo>
                    <a:pt x="41016" y="68309"/>
                  </a:lnTo>
                  <a:lnTo>
                    <a:pt x="14818" y="6830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7" name="Graphic 4">
            <a:extLst>
              <a:ext uri="{FF2B5EF4-FFF2-40B4-BE49-F238E27FC236}">
                <a16:creationId xmlns:a16="http://schemas.microsoft.com/office/drawing/2014/main" id="{E34E48E7-B12F-0737-5E39-E8849A856E21}"/>
              </a:ext>
            </a:extLst>
          </p:cNvPr>
          <p:cNvGrpSpPr/>
          <p:nvPr/>
        </p:nvGrpSpPr>
        <p:grpSpPr>
          <a:xfrm>
            <a:off x="4477147" y="2243281"/>
            <a:ext cx="914400" cy="914400"/>
            <a:chOff x="3607758" y="1402723"/>
            <a:chExt cx="362309" cy="361971"/>
          </a:xfrm>
          <a:solidFill>
            <a:srgbClr val="26890D"/>
          </a:solidFill>
        </p:grpSpPr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647BD525-9391-EFD9-E2B3-E31DC9559C06}"/>
                </a:ext>
              </a:extLst>
            </p:cNvPr>
            <p:cNvSpPr/>
            <p:nvPr/>
          </p:nvSpPr>
          <p:spPr>
            <a:xfrm>
              <a:off x="3607758" y="14027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8565 h 361971"/>
                <a:gd name="connsiteX8" fmla="*/ 12780 w 362309"/>
                <a:gd name="connsiteY8" fmla="*/ 180667 h 361971"/>
                <a:gd name="connsiteX9" fmla="*/ 181474 w 362309"/>
                <a:gd name="connsiteY9" fmla="*/ 12130 h 361971"/>
                <a:gd name="connsiteX10" fmla="*/ 350169 w 362309"/>
                <a:gd name="connsiteY10" fmla="*/ 180028 h 361971"/>
                <a:gd name="connsiteX11" fmla="*/ 350169 w 362309"/>
                <a:gd name="connsiteY11" fmla="*/ 180028 h 361971"/>
                <a:gd name="connsiteX12" fmla="*/ 181474 w 362309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0438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30"/>
                    <a:pt x="181474" y="12130"/>
                  </a:cubicBezTo>
                  <a:cubicBezTo>
                    <a:pt x="274767" y="12130"/>
                    <a:pt x="350169" y="87461"/>
                    <a:pt x="350169" y="180028"/>
                  </a:cubicBezTo>
                  <a:lnTo>
                    <a:pt x="350169" y="180028"/>
                  </a:lnTo>
                  <a:cubicBezTo>
                    <a:pt x="349530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80D79511-74B3-CF83-EAFF-3E789A079A3A}"/>
                </a:ext>
              </a:extLst>
            </p:cNvPr>
            <p:cNvSpPr/>
            <p:nvPr/>
          </p:nvSpPr>
          <p:spPr>
            <a:xfrm>
              <a:off x="3700412" y="1494652"/>
              <a:ext cx="177640" cy="177474"/>
            </a:xfrm>
            <a:custGeom>
              <a:avLst/>
              <a:gdLst>
                <a:gd name="connsiteX0" fmla="*/ 88820 w 177640"/>
                <a:gd name="connsiteY0" fmla="*/ 0 h 177474"/>
                <a:gd name="connsiteX1" fmla="*/ 0 w 177640"/>
                <a:gd name="connsiteY1" fmla="*/ 88737 h 177474"/>
                <a:gd name="connsiteX2" fmla="*/ 88820 w 177640"/>
                <a:gd name="connsiteY2" fmla="*/ 177475 h 177474"/>
                <a:gd name="connsiteX3" fmla="*/ 177641 w 177640"/>
                <a:gd name="connsiteY3" fmla="*/ 88737 h 177474"/>
                <a:gd name="connsiteX4" fmla="*/ 177641 w 177640"/>
                <a:gd name="connsiteY4" fmla="*/ 88737 h 177474"/>
                <a:gd name="connsiteX5" fmla="*/ 88820 w 177640"/>
                <a:gd name="connsiteY5" fmla="*/ 0 h 177474"/>
                <a:gd name="connsiteX6" fmla="*/ 88820 w 177640"/>
                <a:gd name="connsiteY6" fmla="*/ 164707 h 177474"/>
                <a:gd name="connsiteX7" fmla="*/ 12780 w 177640"/>
                <a:gd name="connsiteY7" fmla="*/ 88737 h 177474"/>
                <a:gd name="connsiteX8" fmla="*/ 88820 w 177640"/>
                <a:gd name="connsiteY8" fmla="*/ 12768 h 177474"/>
                <a:gd name="connsiteX9" fmla="*/ 164861 w 177640"/>
                <a:gd name="connsiteY9" fmla="*/ 88737 h 177474"/>
                <a:gd name="connsiteX10" fmla="*/ 164861 w 177640"/>
                <a:gd name="connsiteY10" fmla="*/ 88737 h 177474"/>
                <a:gd name="connsiteX11" fmla="*/ 88820 w 177640"/>
                <a:gd name="connsiteY11" fmla="*/ 164707 h 177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7640" h="177474">
                  <a:moveTo>
                    <a:pt x="88820" y="0"/>
                  </a:moveTo>
                  <a:cubicBezTo>
                    <a:pt x="39618" y="0"/>
                    <a:pt x="0" y="39581"/>
                    <a:pt x="0" y="88737"/>
                  </a:cubicBezTo>
                  <a:cubicBezTo>
                    <a:pt x="0" y="137894"/>
                    <a:pt x="39618" y="177475"/>
                    <a:pt x="88820" y="177475"/>
                  </a:cubicBezTo>
                  <a:cubicBezTo>
                    <a:pt x="138023" y="177475"/>
                    <a:pt x="177641" y="137894"/>
                    <a:pt x="177641" y="88737"/>
                  </a:cubicBezTo>
                  <a:cubicBezTo>
                    <a:pt x="177641" y="88737"/>
                    <a:pt x="177641" y="88737"/>
                    <a:pt x="177641" y="88737"/>
                  </a:cubicBezTo>
                  <a:cubicBezTo>
                    <a:pt x="177641" y="39581"/>
                    <a:pt x="138023" y="0"/>
                    <a:pt x="88820" y="0"/>
                  </a:cubicBezTo>
                  <a:close/>
                  <a:moveTo>
                    <a:pt x="88820" y="164707"/>
                  </a:moveTo>
                  <a:cubicBezTo>
                    <a:pt x="46647" y="164707"/>
                    <a:pt x="12780" y="130872"/>
                    <a:pt x="12780" y="88737"/>
                  </a:cubicBezTo>
                  <a:cubicBezTo>
                    <a:pt x="12780" y="46603"/>
                    <a:pt x="46647" y="12768"/>
                    <a:pt x="88820" y="12768"/>
                  </a:cubicBezTo>
                  <a:cubicBezTo>
                    <a:pt x="130994" y="12768"/>
                    <a:pt x="164861" y="46603"/>
                    <a:pt x="164861" y="88737"/>
                  </a:cubicBezTo>
                  <a:cubicBezTo>
                    <a:pt x="164861" y="88737"/>
                    <a:pt x="164861" y="88737"/>
                    <a:pt x="164861" y="88737"/>
                  </a:cubicBezTo>
                  <a:cubicBezTo>
                    <a:pt x="164861" y="130233"/>
                    <a:pt x="130994" y="164707"/>
                    <a:pt x="88820" y="16470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91599578-302A-DAB7-F48E-91657F687BA5}"/>
                </a:ext>
              </a:extLst>
            </p:cNvPr>
            <p:cNvSpPr/>
            <p:nvPr/>
          </p:nvSpPr>
          <p:spPr>
            <a:xfrm>
              <a:off x="3669900" y="1497206"/>
              <a:ext cx="45847" cy="172367"/>
            </a:xfrm>
            <a:custGeom>
              <a:avLst/>
              <a:gdLst>
                <a:gd name="connsiteX0" fmla="*/ 43931 w 45847"/>
                <a:gd name="connsiteY0" fmla="*/ 10853 h 172367"/>
                <a:gd name="connsiteX1" fmla="*/ 43931 w 45847"/>
                <a:gd name="connsiteY1" fmla="*/ 1915 h 172367"/>
                <a:gd name="connsiteX2" fmla="*/ 34985 w 45847"/>
                <a:gd name="connsiteY2" fmla="*/ 1915 h 172367"/>
                <a:gd name="connsiteX3" fmla="*/ 34985 w 45847"/>
                <a:gd name="connsiteY3" fmla="*/ 1915 h 172367"/>
                <a:gd name="connsiteX4" fmla="*/ 34985 w 45847"/>
                <a:gd name="connsiteY4" fmla="*/ 170452 h 172367"/>
                <a:gd name="connsiteX5" fmla="*/ 39458 w 45847"/>
                <a:gd name="connsiteY5" fmla="*/ 172367 h 172367"/>
                <a:gd name="connsiteX6" fmla="*/ 43931 w 45847"/>
                <a:gd name="connsiteY6" fmla="*/ 170452 h 172367"/>
                <a:gd name="connsiteX7" fmla="*/ 43931 w 45847"/>
                <a:gd name="connsiteY7" fmla="*/ 161515 h 172367"/>
                <a:gd name="connsiteX8" fmla="*/ 42653 w 45847"/>
                <a:gd name="connsiteY8" fmla="*/ 10853 h 172367"/>
                <a:gd name="connsiteX9" fmla="*/ 43931 w 45847"/>
                <a:gd name="connsiteY9" fmla="*/ 10853 h 17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847" h="172367">
                  <a:moveTo>
                    <a:pt x="43931" y="10853"/>
                  </a:moveTo>
                  <a:cubicBezTo>
                    <a:pt x="46487" y="8299"/>
                    <a:pt x="46487" y="4469"/>
                    <a:pt x="43931" y="1915"/>
                  </a:cubicBezTo>
                  <a:cubicBezTo>
                    <a:pt x="41375" y="-638"/>
                    <a:pt x="37541" y="-638"/>
                    <a:pt x="34985" y="1915"/>
                  </a:cubicBezTo>
                  <a:lnTo>
                    <a:pt x="34985" y="1915"/>
                  </a:lnTo>
                  <a:cubicBezTo>
                    <a:pt x="-11662" y="48518"/>
                    <a:pt x="-11662" y="123849"/>
                    <a:pt x="34985" y="170452"/>
                  </a:cubicBezTo>
                  <a:cubicBezTo>
                    <a:pt x="36263" y="171729"/>
                    <a:pt x="37541" y="172367"/>
                    <a:pt x="39458" y="172367"/>
                  </a:cubicBezTo>
                  <a:cubicBezTo>
                    <a:pt x="41375" y="172367"/>
                    <a:pt x="42653" y="171729"/>
                    <a:pt x="43931" y="170452"/>
                  </a:cubicBezTo>
                  <a:cubicBezTo>
                    <a:pt x="46487" y="167899"/>
                    <a:pt x="46487" y="164068"/>
                    <a:pt x="43931" y="161515"/>
                  </a:cubicBezTo>
                  <a:cubicBezTo>
                    <a:pt x="1757" y="120019"/>
                    <a:pt x="1118" y="52987"/>
                    <a:pt x="42653" y="10853"/>
                  </a:cubicBezTo>
                  <a:cubicBezTo>
                    <a:pt x="42653" y="10853"/>
                    <a:pt x="42653" y="10853"/>
                    <a:pt x="43931" y="1085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56075175-C296-86F8-8768-4BFED65B088B}"/>
                </a:ext>
              </a:extLst>
            </p:cNvPr>
            <p:cNvSpPr/>
            <p:nvPr/>
          </p:nvSpPr>
          <p:spPr>
            <a:xfrm>
              <a:off x="3862717" y="1497206"/>
              <a:ext cx="45847" cy="172367"/>
            </a:xfrm>
            <a:custGeom>
              <a:avLst/>
              <a:gdLst>
                <a:gd name="connsiteX0" fmla="*/ 10863 w 45847"/>
                <a:gd name="connsiteY0" fmla="*/ 1915 h 172367"/>
                <a:gd name="connsiteX1" fmla="*/ 1917 w 45847"/>
                <a:gd name="connsiteY1" fmla="*/ 1915 h 172367"/>
                <a:gd name="connsiteX2" fmla="*/ 1917 w 45847"/>
                <a:gd name="connsiteY2" fmla="*/ 10853 h 172367"/>
                <a:gd name="connsiteX3" fmla="*/ 1917 w 45847"/>
                <a:gd name="connsiteY3" fmla="*/ 10853 h 172367"/>
                <a:gd name="connsiteX4" fmla="*/ 1917 w 45847"/>
                <a:gd name="connsiteY4" fmla="*/ 161515 h 172367"/>
                <a:gd name="connsiteX5" fmla="*/ 1917 w 45847"/>
                <a:gd name="connsiteY5" fmla="*/ 161515 h 172367"/>
                <a:gd name="connsiteX6" fmla="*/ 1917 w 45847"/>
                <a:gd name="connsiteY6" fmla="*/ 170452 h 172367"/>
                <a:gd name="connsiteX7" fmla="*/ 10863 w 45847"/>
                <a:gd name="connsiteY7" fmla="*/ 170452 h 172367"/>
                <a:gd name="connsiteX8" fmla="*/ 10863 w 45847"/>
                <a:gd name="connsiteY8" fmla="*/ 1915 h 17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847" h="172367">
                  <a:moveTo>
                    <a:pt x="10863" y="1915"/>
                  </a:moveTo>
                  <a:cubicBezTo>
                    <a:pt x="8307" y="-638"/>
                    <a:pt x="4473" y="-638"/>
                    <a:pt x="1917" y="1915"/>
                  </a:cubicBezTo>
                  <a:cubicBezTo>
                    <a:pt x="-639" y="4469"/>
                    <a:pt x="-639" y="8299"/>
                    <a:pt x="1917" y="10853"/>
                  </a:cubicBezTo>
                  <a:cubicBezTo>
                    <a:pt x="1917" y="10853"/>
                    <a:pt x="1917" y="10853"/>
                    <a:pt x="1917" y="10853"/>
                  </a:cubicBezTo>
                  <a:cubicBezTo>
                    <a:pt x="43451" y="52349"/>
                    <a:pt x="43451" y="120019"/>
                    <a:pt x="1917" y="161515"/>
                  </a:cubicBezTo>
                  <a:cubicBezTo>
                    <a:pt x="1917" y="161515"/>
                    <a:pt x="1917" y="161515"/>
                    <a:pt x="1917" y="161515"/>
                  </a:cubicBezTo>
                  <a:cubicBezTo>
                    <a:pt x="-639" y="164068"/>
                    <a:pt x="-639" y="167899"/>
                    <a:pt x="1917" y="170452"/>
                  </a:cubicBezTo>
                  <a:cubicBezTo>
                    <a:pt x="4473" y="173006"/>
                    <a:pt x="8307" y="173006"/>
                    <a:pt x="10863" y="170452"/>
                  </a:cubicBezTo>
                  <a:cubicBezTo>
                    <a:pt x="57509" y="123849"/>
                    <a:pt x="57509" y="48518"/>
                    <a:pt x="10863" y="191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B659C544-528B-E274-9B40-F380CC12CC4B}"/>
                </a:ext>
              </a:extLst>
            </p:cNvPr>
            <p:cNvSpPr/>
            <p:nvPr/>
          </p:nvSpPr>
          <p:spPr>
            <a:xfrm>
              <a:off x="3773257" y="1613394"/>
              <a:ext cx="31949" cy="32558"/>
            </a:xfrm>
            <a:custGeom>
              <a:avLst/>
              <a:gdLst>
                <a:gd name="connsiteX0" fmla="*/ 15975 w 31949"/>
                <a:gd name="connsiteY0" fmla="*/ 0 h 32558"/>
                <a:gd name="connsiteX1" fmla="*/ 0 w 31949"/>
                <a:gd name="connsiteY1" fmla="*/ 15960 h 32558"/>
                <a:gd name="connsiteX2" fmla="*/ 15975 w 31949"/>
                <a:gd name="connsiteY2" fmla="*/ 32558 h 32558"/>
                <a:gd name="connsiteX3" fmla="*/ 31950 w 31949"/>
                <a:gd name="connsiteY3" fmla="*/ 16598 h 32558"/>
                <a:gd name="connsiteX4" fmla="*/ 31950 w 31949"/>
                <a:gd name="connsiteY4" fmla="*/ 16598 h 32558"/>
                <a:gd name="connsiteX5" fmla="*/ 15975 w 31949"/>
                <a:gd name="connsiteY5" fmla="*/ 0 h 32558"/>
                <a:gd name="connsiteX6" fmla="*/ 15975 w 31949"/>
                <a:gd name="connsiteY6" fmla="*/ 19790 h 32558"/>
                <a:gd name="connsiteX7" fmla="*/ 12780 w 31949"/>
                <a:gd name="connsiteY7" fmla="*/ 15960 h 32558"/>
                <a:gd name="connsiteX8" fmla="*/ 15975 w 31949"/>
                <a:gd name="connsiteY8" fmla="*/ 12130 h 32558"/>
                <a:gd name="connsiteX9" fmla="*/ 19170 w 31949"/>
                <a:gd name="connsiteY9" fmla="*/ 15322 h 32558"/>
                <a:gd name="connsiteX10" fmla="*/ 19170 w 31949"/>
                <a:gd name="connsiteY10" fmla="*/ 15322 h 32558"/>
                <a:gd name="connsiteX11" fmla="*/ 15975 w 31949"/>
                <a:gd name="connsiteY11" fmla="*/ 19790 h 3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949" h="32558">
                  <a:moveTo>
                    <a:pt x="15975" y="0"/>
                  </a:moveTo>
                  <a:cubicBezTo>
                    <a:pt x="7029" y="0"/>
                    <a:pt x="0" y="7022"/>
                    <a:pt x="0" y="15960"/>
                  </a:cubicBezTo>
                  <a:cubicBezTo>
                    <a:pt x="0" y="24897"/>
                    <a:pt x="7029" y="32558"/>
                    <a:pt x="15975" y="32558"/>
                  </a:cubicBezTo>
                  <a:cubicBezTo>
                    <a:pt x="24921" y="32558"/>
                    <a:pt x="31950" y="25536"/>
                    <a:pt x="31950" y="16598"/>
                  </a:cubicBezTo>
                  <a:cubicBezTo>
                    <a:pt x="31950" y="16598"/>
                    <a:pt x="31950" y="16598"/>
                    <a:pt x="31950" y="16598"/>
                  </a:cubicBezTo>
                  <a:cubicBezTo>
                    <a:pt x="31950" y="7661"/>
                    <a:pt x="24921" y="0"/>
                    <a:pt x="15975" y="0"/>
                  </a:cubicBezTo>
                  <a:close/>
                  <a:moveTo>
                    <a:pt x="15975" y="19790"/>
                  </a:moveTo>
                  <a:cubicBezTo>
                    <a:pt x="14058" y="19790"/>
                    <a:pt x="12780" y="18514"/>
                    <a:pt x="12780" y="15960"/>
                  </a:cubicBezTo>
                  <a:cubicBezTo>
                    <a:pt x="12780" y="13406"/>
                    <a:pt x="14058" y="12130"/>
                    <a:pt x="15975" y="12130"/>
                  </a:cubicBezTo>
                  <a:cubicBezTo>
                    <a:pt x="17892" y="12130"/>
                    <a:pt x="19170" y="13406"/>
                    <a:pt x="19170" y="15322"/>
                  </a:cubicBezTo>
                  <a:cubicBezTo>
                    <a:pt x="19170" y="15322"/>
                    <a:pt x="19170" y="15322"/>
                    <a:pt x="19170" y="15322"/>
                  </a:cubicBezTo>
                  <a:cubicBezTo>
                    <a:pt x="19170" y="18514"/>
                    <a:pt x="17892" y="19790"/>
                    <a:pt x="15975" y="1979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76141B94-F905-82AB-71EE-53BBD5B46A65}"/>
                </a:ext>
              </a:extLst>
            </p:cNvPr>
            <p:cNvSpPr/>
            <p:nvPr/>
          </p:nvSpPr>
          <p:spPr>
            <a:xfrm>
              <a:off x="3769424" y="1520827"/>
              <a:ext cx="39047" cy="84967"/>
            </a:xfrm>
            <a:custGeom>
              <a:avLst/>
              <a:gdLst>
                <a:gd name="connsiteX0" fmla="*/ 30032 w 39047"/>
                <a:gd name="connsiteY0" fmla="*/ 0 h 84967"/>
                <a:gd name="connsiteX1" fmla="*/ 8946 w 39047"/>
                <a:gd name="connsiteY1" fmla="*/ 0 h 84967"/>
                <a:gd name="connsiteX2" fmla="*/ 2556 w 39047"/>
                <a:gd name="connsiteY2" fmla="*/ 3192 h 84967"/>
                <a:gd name="connsiteX3" fmla="*/ 0 w 39047"/>
                <a:gd name="connsiteY3" fmla="*/ 10214 h 84967"/>
                <a:gd name="connsiteX4" fmla="*/ 3195 w 39047"/>
                <a:gd name="connsiteY4" fmla="*/ 75969 h 84967"/>
                <a:gd name="connsiteX5" fmla="*/ 12780 w 39047"/>
                <a:gd name="connsiteY5" fmla="*/ 84907 h 84967"/>
                <a:gd name="connsiteX6" fmla="*/ 26199 w 39047"/>
                <a:gd name="connsiteY6" fmla="*/ 84907 h 84967"/>
                <a:gd name="connsiteX7" fmla="*/ 35783 w 39047"/>
                <a:gd name="connsiteY7" fmla="*/ 75969 h 84967"/>
                <a:gd name="connsiteX8" fmla="*/ 38978 w 39047"/>
                <a:gd name="connsiteY8" fmla="*/ 10214 h 84967"/>
                <a:gd name="connsiteX9" fmla="*/ 30032 w 39047"/>
                <a:gd name="connsiteY9" fmla="*/ 0 h 84967"/>
                <a:gd name="connsiteX10" fmla="*/ 23004 w 39047"/>
                <a:gd name="connsiteY10" fmla="*/ 72139 h 84967"/>
                <a:gd name="connsiteX11" fmla="*/ 15336 w 39047"/>
                <a:gd name="connsiteY11" fmla="*/ 72139 h 84967"/>
                <a:gd name="connsiteX12" fmla="*/ 12141 w 39047"/>
                <a:gd name="connsiteY12" fmla="*/ 12130 h 84967"/>
                <a:gd name="connsiteX13" fmla="*/ 25560 w 39047"/>
                <a:gd name="connsiteY13" fmla="*/ 12130 h 84967"/>
                <a:gd name="connsiteX14" fmla="*/ 23004 w 39047"/>
                <a:gd name="connsiteY14" fmla="*/ 72139 h 8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47" h="84967">
                  <a:moveTo>
                    <a:pt x="30032" y="0"/>
                  </a:moveTo>
                  <a:lnTo>
                    <a:pt x="8946" y="0"/>
                  </a:lnTo>
                  <a:cubicBezTo>
                    <a:pt x="6390" y="0"/>
                    <a:pt x="3834" y="1277"/>
                    <a:pt x="2556" y="3192"/>
                  </a:cubicBezTo>
                  <a:cubicBezTo>
                    <a:pt x="639" y="5107"/>
                    <a:pt x="0" y="7661"/>
                    <a:pt x="0" y="10214"/>
                  </a:cubicBezTo>
                  <a:lnTo>
                    <a:pt x="3195" y="75969"/>
                  </a:lnTo>
                  <a:cubicBezTo>
                    <a:pt x="3195" y="81077"/>
                    <a:pt x="7668" y="85545"/>
                    <a:pt x="12780" y="84907"/>
                  </a:cubicBezTo>
                  <a:lnTo>
                    <a:pt x="26199" y="84907"/>
                  </a:lnTo>
                  <a:cubicBezTo>
                    <a:pt x="31310" y="84907"/>
                    <a:pt x="35783" y="81077"/>
                    <a:pt x="35783" y="75969"/>
                  </a:cubicBezTo>
                  <a:lnTo>
                    <a:pt x="38978" y="10214"/>
                  </a:lnTo>
                  <a:cubicBezTo>
                    <a:pt x="39617" y="4469"/>
                    <a:pt x="35783" y="0"/>
                    <a:pt x="30032" y="0"/>
                  </a:cubicBezTo>
                  <a:close/>
                  <a:moveTo>
                    <a:pt x="23004" y="72139"/>
                  </a:moveTo>
                  <a:lnTo>
                    <a:pt x="15336" y="72139"/>
                  </a:lnTo>
                  <a:lnTo>
                    <a:pt x="12141" y="12130"/>
                  </a:lnTo>
                  <a:lnTo>
                    <a:pt x="25560" y="12130"/>
                  </a:lnTo>
                  <a:lnTo>
                    <a:pt x="23004" y="7213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4" name="Graphic 4">
            <a:extLst>
              <a:ext uri="{FF2B5EF4-FFF2-40B4-BE49-F238E27FC236}">
                <a16:creationId xmlns:a16="http://schemas.microsoft.com/office/drawing/2014/main" id="{AEA277C5-2964-1A6B-1FDF-301886A55409}"/>
              </a:ext>
            </a:extLst>
          </p:cNvPr>
          <p:cNvGrpSpPr/>
          <p:nvPr/>
        </p:nvGrpSpPr>
        <p:grpSpPr>
          <a:xfrm>
            <a:off x="6737331" y="2243281"/>
            <a:ext cx="914400" cy="914400"/>
            <a:chOff x="3607758" y="3339623"/>
            <a:chExt cx="361674" cy="361333"/>
          </a:xfrm>
          <a:solidFill>
            <a:srgbClr val="86BC25"/>
          </a:solidFill>
        </p:grpSpPr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226B6C7B-B5E9-BA27-75F8-C3CE81744707}"/>
                </a:ext>
              </a:extLst>
            </p:cNvPr>
            <p:cNvSpPr/>
            <p:nvPr/>
          </p:nvSpPr>
          <p:spPr>
            <a:xfrm>
              <a:off x="3607758" y="3339623"/>
              <a:ext cx="361674" cy="361333"/>
            </a:xfrm>
            <a:custGeom>
              <a:avLst/>
              <a:gdLst>
                <a:gd name="connsiteX0" fmla="*/ 180836 w 361674"/>
                <a:gd name="connsiteY0" fmla="*/ 0 h 361333"/>
                <a:gd name="connsiteX1" fmla="*/ 0 w 361674"/>
                <a:gd name="connsiteY1" fmla="*/ 180667 h 361333"/>
                <a:gd name="connsiteX2" fmla="*/ 180836 w 361674"/>
                <a:gd name="connsiteY2" fmla="*/ 361333 h 361333"/>
                <a:gd name="connsiteX3" fmla="*/ 361671 w 361674"/>
                <a:gd name="connsiteY3" fmla="*/ 180667 h 361333"/>
                <a:gd name="connsiteX4" fmla="*/ 180836 w 361674"/>
                <a:gd name="connsiteY4" fmla="*/ 0 h 361333"/>
                <a:gd name="connsiteX5" fmla="*/ 180836 w 361674"/>
                <a:gd name="connsiteY5" fmla="*/ 349204 h 361333"/>
                <a:gd name="connsiteX6" fmla="*/ 12780 w 361674"/>
                <a:gd name="connsiteY6" fmla="*/ 181305 h 361333"/>
                <a:gd name="connsiteX7" fmla="*/ 180836 w 361674"/>
                <a:gd name="connsiteY7" fmla="*/ 13406 h 361333"/>
                <a:gd name="connsiteX8" fmla="*/ 348891 w 361674"/>
                <a:gd name="connsiteY8" fmla="*/ 181305 h 361333"/>
                <a:gd name="connsiteX9" fmla="*/ 180836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2310" y="81077"/>
                    <a:pt x="281157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6"/>
                    <a:pt x="180836" y="13406"/>
                  </a:cubicBezTo>
                  <a:cubicBezTo>
                    <a:pt x="273490" y="13406"/>
                    <a:pt x="348891" y="88738"/>
                    <a:pt x="348891" y="181305"/>
                  </a:cubicBezTo>
                  <a:cubicBezTo>
                    <a:pt x="349530" y="273873"/>
                    <a:pt x="274128" y="349204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71E66BC2-FC5F-16D8-5FF7-810E13D322C1}"/>
                </a:ext>
              </a:extLst>
            </p:cNvPr>
            <p:cNvSpPr/>
            <p:nvPr/>
          </p:nvSpPr>
          <p:spPr>
            <a:xfrm>
              <a:off x="3759990" y="3397079"/>
              <a:ext cx="48899" cy="49156"/>
            </a:xfrm>
            <a:custGeom>
              <a:avLst/>
              <a:gdLst>
                <a:gd name="connsiteX0" fmla="*/ 25408 w 48899"/>
                <a:gd name="connsiteY0" fmla="*/ 49157 h 49156"/>
                <a:gd name="connsiteX1" fmla="*/ 42022 w 48899"/>
                <a:gd name="connsiteY1" fmla="*/ 42134 h 49156"/>
                <a:gd name="connsiteX2" fmla="*/ 41383 w 48899"/>
                <a:gd name="connsiteY2" fmla="*/ 7661 h 49156"/>
                <a:gd name="connsiteX3" fmla="*/ 24130 w 48899"/>
                <a:gd name="connsiteY3" fmla="*/ 0 h 49156"/>
                <a:gd name="connsiteX4" fmla="*/ 6877 w 48899"/>
                <a:gd name="connsiteY4" fmla="*/ 7022 h 49156"/>
                <a:gd name="connsiteX5" fmla="*/ 7516 w 48899"/>
                <a:gd name="connsiteY5" fmla="*/ 41496 h 49156"/>
                <a:gd name="connsiteX6" fmla="*/ 25408 w 48899"/>
                <a:gd name="connsiteY6" fmla="*/ 49157 h 49156"/>
                <a:gd name="connsiteX7" fmla="*/ 16462 w 48899"/>
                <a:gd name="connsiteY7" fmla="*/ 15960 h 49156"/>
                <a:gd name="connsiteX8" fmla="*/ 24130 w 48899"/>
                <a:gd name="connsiteY8" fmla="*/ 12768 h 49156"/>
                <a:gd name="connsiteX9" fmla="*/ 24769 w 48899"/>
                <a:gd name="connsiteY9" fmla="*/ 12768 h 49156"/>
                <a:gd name="connsiteX10" fmla="*/ 33076 w 48899"/>
                <a:gd name="connsiteY10" fmla="*/ 16598 h 49156"/>
                <a:gd name="connsiteX11" fmla="*/ 33715 w 48899"/>
                <a:gd name="connsiteY11" fmla="*/ 33197 h 49156"/>
                <a:gd name="connsiteX12" fmla="*/ 17101 w 48899"/>
                <a:gd name="connsiteY12" fmla="*/ 32558 h 49156"/>
                <a:gd name="connsiteX13" fmla="*/ 16462 w 48899"/>
                <a:gd name="connsiteY13" fmla="*/ 15960 h 49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899" h="49156">
                  <a:moveTo>
                    <a:pt x="25408" y="49157"/>
                  </a:moveTo>
                  <a:cubicBezTo>
                    <a:pt x="31159" y="49157"/>
                    <a:pt x="37549" y="46603"/>
                    <a:pt x="42022" y="42134"/>
                  </a:cubicBezTo>
                  <a:cubicBezTo>
                    <a:pt x="51607" y="32558"/>
                    <a:pt x="50968" y="17237"/>
                    <a:pt x="41383" y="7661"/>
                  </a:cubicBezTo>
                  <a:cubicBezTo>
                    <a:pt x="36910" y="3192"/>
                    <a:pt x="30520" y="638"/>
                    <a:pt x="24130" y="0"/>
                  </a:cubicBezTo>
                  <a:cubicBezTo>
                    <a:pt x="17740" y="0"/>
                    <a:pt x="11350" y="1915"/>
                    <a:pt x="6877" y="7022"/>
                  </a:cubicBezTo>
                  <a:cubicBezTo>
                    <a:pt x="-2708" y="16598"/>
                    <a:pt x="-2069" y="31920"/>
                    <a:pt x="7516" y="41496"/>
                  </a:cubicBezTo>
                  <a:cubicBezTo>
                    <a:pt x="12628" y="46603"/>
                    <a:pt x="19018" y="49157"/>
                    <a:pt x="25408" y="49157"/>
                  </a:cubicBezTo>
                  <a:close/>
                  <a:moveTo>
                    <a:pt x="16462" y="15960"/>
                  </a:moveTo>
                  <a:cubicBezTo>
                    <a:pt x="18379" y="14045"/>
                    <a:pt x="20935" y="12768"/>
                    <a:pt x="24130" y="12768"/>
                  </a:cubicBezTo>
                  <a:cubicBezTo>
                    <a:pt x="24130" y="12768"/>
                    <a:pt x="24130" y="12768"/>
                    <a:pt x="24769" y="12768"/>
                  </a:cubicBezTo>
                  <a:cubicBezTo>
                    <a:pt x="27964" y="12768"/>
                    <a:pt x="31159" y="14045"/>
                    <a:pt x="33076" y="16598"/>
                  </a:cubicBezTo>
                  <a:cubicBezTo>
                    <a:pt x="37549" y="21067"/>
                    <a:pt x="38188" y="28728"/>
                    <a:pt x="33715" y="33197"/>
                  </a:cubicBezTo>
                  <a:cubicBezTo>
                    <a:pt x="29242" y="37666"/>
                    <a:pt x="22213" y="37027"/>
                    <a:pt x="17101" y="32558"/>
                  </a:cubicBezTo>
                  <a:cubicBezTo>
                    <a:pt x="11989" y="28090"/>
                    <a:pt x="11989" y="20429"/>
                    <a:pt x="16462" y="1596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B48050F4-B439-1B1C-3E4C-9A605F085CAE}"/>
                </a:ext>
              </a:extLst>
            </p:cNvPr>
            <p:cNvSpPr/>
            <p:nvPr/>
          </p:nvSpPr>
          <p:spPr>
            <a:xfrm>
              <a:off x="3796179" y="3431669"/>
              <a:ext cx="120692" cy="208640"/>
            </a:xfrm>
            <a:custGeom>
              <a:avLst/>
              <a:gdLst>
                <a:gd name="connsiteX0" fmla="*/ 120213 w 120692"/>
                <a:gd name="connsiteY0" fmla="*/ 103943 h 208640"/>
                <a:gd name="connsiteX1" fmla="*/ 104239 w 120692"/>
                <a:gd name="connsiteY1" fmla="*/ 71384 h 208640"/>
                <a:gd name="connsiteX2" fmla="*/ 93376 w 120692"/>
                <a:gd name="connsiteY2" fmla="*/ 57340 h 208640"/>
                <a:gd name="connsiteX3" fmla="*/ 40978 w 120692"/>
                <a:gd name="connsiteY3" fmla="*/ 4991 h 208640"/>
                <a:gd name="connsiteX4" fmla="*/ 40339 w 120692"/>
                <a:gd name="connsiteY4" fmla="*/ 4353 h 208640"/>
                <a:gd name="connsiteX5" fmla="*/ 14780 w 120692"/>
                <a:gd name="connsiteY5" fmla="*/ 6268 h 208640"/>
                <a:gd name="connsiteX6" fmla="*/ 5195 w 120692"/>
                <a:gd name="connsiteY6" fmla="*/ 16482 h 208640"/>
                <a:gd name="connsiteX7" fmla="*/ 5833 w 120692"/>
                <a:gd name="connsiteY7" fmla="*/ 43295 h 208640"/>
                <a:gd name="connsiteX8" fmla="*/ 18613 w 120692"/>
                <a:gd name="connsiteY8" fmla="*/ 56063 h 208640"/>
                <a:gd name="connsiteX9" fmla="*/ 9667 w 120692"/>
                <a:gd name="connsiteY9" fmla="*/ 65639 h 208640"/>
                <a:gd name="connsiteX10" fmla="*/ 1360 w 120692"/>
                <a:gd name="connsiteY10" fmla="*/ 81599 h 208640"/>
                <a:gd name="connsiteX11" fmla="*/ 5195 w 120692"/>
                <a:gd name="connsiteY11" fmla="*/ 89260 h 208640"/>
                <a:gd name="connsiteX12" fmla="*/ 26920 w 120692"/>
                <a:gd name="connsiteY12" fmla="*/ 86068 h 208640"/>
                <a:gd name="connsiteX13" fmla="*/ 30115 w 120692"/>
                <a:gd name="connsiteY13" fmla="*/ 82876 h 208640"/>
                <a:gd name="connsiteX14" fmla="*/ 43534 w 120692"/>
                <a:gd name="connsiteY14" fmla="*/ 134586 h 208640"/>
                <a:gd name="connsiteX15" fmla="*/ 46729 w 120692"/>
                <a:gd name="connsiteY15" fmla="*/ 138416 h 208640"/>
                <a:gd name="connsiteX16" fmla="*/ 49285 w 120692"/>
                <a:gd name="connsiteY16" fmla="*/ 139055 h 208640"/>
                <a:gd name="connsiteX17" fmla="*/ 51841 w 120692"/>
                <a:gd name="connsiteY17" fmla="*/ 138416 h 208640"/>
                <a:gd name="connsiteX18" fmla="*/ 62065 w 120692"/>
                <a:gd name="connsiteY18" fmla="*/ 134586 h 208640"/>
                <a:gd name="connsiteX19" fmla="*/ 60787 w 120692"/>
                <a:gd name="connsiteY19" fmla="*/ 195234 h 208640"/>
                <a:gd name="connsiteX20" fmla="*/ 74206 w 120692"/>
                <a:gd name="connsiteY20" fmla="*/ 208640 h 208640"/>
                <a:gd name="connsiteX21" fmla="*/ 87625 w 120692"/>
                <a:gd name="connsiteY21" fmla="*/ 197149 h 208640"/>
                <a:gd name="connsiteX22" fmla="*/ 99126 w 120692"/>
                <a:gd name="connsiteY22" fmla="*/ 119264 h 208640"/>
                <a:gd name="connsiteX23" fmla="*/ 116379 w 120692"/>
                <a:gd name="connsiteY23" fmla="*/ 112242 h 208640"/>
                <a:gd name="connsiteX24" fmla="*/ 120213 w 120692"/>
                <a:gd name="connsiteY24" fmla="*/ 108412 h 208640"/>
                <a:gd name="connsiteX25" fmla="*/ 120213 w 120692"/>
                <a:gd name="connsiteY25" fmla="*/ 103943 h 208640"/>
                <a:gd name="connsiteX26" fmla="*/ 75484 w 120692"/>
                <a:gd name="connsiteY26" fmla="*/ 195872 h 208640"/>
                <a:gd name="connsiteX27" fmla="*/ 74206 w 120692"/>
                <a:gd name="connsiteY27" fmla="*/ 195872 h 208640"/>
                <a:gd name="connsiteX28" fmla="*/ 75484 w 120692"/>
                <a:gd name="connsiteY28" fmla="*/ 130117 h 208640"/>
                <a:gd name="connsiteX29" fmla="*/ 86347 w 120692"/>
                <a:gd name="connsiteY29" fmla="*/ 125648 h 208640"/>
                <a:gd name="connsiteX30" fmla="*/ 75484 w 120692"/>
                <a:gd name="connsiteY30" fmla="*/ 195872 h 208640"/>
                <a:gd name="connsiteX31" fmla="*/ 54397 w 120692"/>
                <a:gd name="connsiteY31" fmla="*/ 124372 h 208640"/>
                <a:gd name="connsiteX32" fmla="*/ 41617 w 120692"/>
                <a:gd name="connsiteY32" fmla="*/ 73938 h 208640"/>
                <a:gd name="connsiteX33" fmla="*/ 45451 w 120692"/>
                <a:gd name="connsiteY33" fmla="*/ 70746 h 208640"/>
                <a:gd name="connsiteX34" fmla="*/ 46090 w 120692"/>
                <a:gd name="connsiteY34" fmla="*/ 70108 h 208640"/>
                <a:gd name="connsiteX35" fmla="*/ 44173 w 120692"/>
                <a:gd name="connsiteY35" fmla="*/ 41380 h 208640"/>
                <a:gd name="connsiteX36" fmla="*/ 31393 w 120692"/>
                <a:gd name="connsiteY36" fmla="*/ 26697 h 208640"/>
                <a:gd name="connsiteX37" fmla="*/ 22447 w 120692"/>
                <a:gd name="connsiteY37" fmla="*/ 26058 h 208640"/>
                <a:gd name="connsiteX38" fmla="*/ 21808 w 120692"/>
                <a:gd name="connsiteY38" fmla="*/ 34996 h 208640"/>
                <a:gd name="connsiteX39" fmla="*/ 35227 w 120692"/>
                <a:gd name="connsiteY39" fmla="*/ 49679 h 208640"/>
                <a:gd name="connsiteX40" fmla="*/ 37144 w 120692"/>
                <a:gd name="connsiteY40" fmla="*/ 61170 h 208640"/>
                <a:gd name="connsiteX41" fmla="*/ 30754 w 120692"/>
                <a:gd name="connsiteY41" fmla="*/ 66916 h 208640"/>
                <a:gd name="connsiteX42" fmla="*/ 30754 w 120692"/>
                <a:gd name="connsiteY42" fmla="*/ 66916 h 208640"/>
                <a:gd name="connsiteX43" fmla="*/ 19891 w 120692"/>
                <a:gd name="connsiteY43" fmla="*/ 76492 h 208640"/>
                <a:gd name="connsiteX44" fmla="*/ 17335 w 120692"/>
                <a:gd name="connsiteY44" fmla="*/ 78407 h 208640"/>
                <a:gd name="connsiteX45" fmla="*/ 20530 w 120692"/>
                <a:gd name="connsiteY45" fmla="*/ 75215 h 208640"/>
                <a:gd name="connsiteX46" fmla="*/ 30754 w 120692"/>
                <a:gd name="connsiteY46" fmla="*/ 63724 h 208640"/>
                <a:gd name="connsiteX47" fmla="*/ 33949 w 120692"/>
                <a:gd name="connsiteY47" fmla="*/ 56701 h 208640"/>
                <a:gd name="connsiteX48" fmla="*/ 31393 w 120692"/>
                <a:gd name="connsiteY48" fmla="*/ 49040 h 208640"/>
                <a:gd name="connsiteX49" fmla="*/ 16057 w 120692"/>
                <a:gd name="connsiteY49" fmla="*/ 33719 h 208640"/>
                <a:gd name="connsiteX50" fmla="*/ 16057 w 120692"/>
                <a:gd name="connsiteY50" fmla="*/ 24781 h 208640"/>
                <a:gd name="connsiteX51" fmla="*/ 25642 w 120692"/>
                <a:gd name="connsiteY51" fmla="*/ 14567 h 208640"/>
                <a:gd name="connsiteX52" fmla="*/ 33949 w 120692"/>
                <a:gd name="connsiteY52" fmla="*/ 13929 h 208640"/>
                <a:gd name="connsiteX53" fmla="*/ 86347 w 120692"/>
                <a:gd name="connsiteY53" fmla="*/ 66277 h 208640"/>
                <a:gd name="connsiteX54" fmla="*/ 94654 w 120692"/>
                <a:gd name="connsiteY54" fmla="*/ 77130 h 208640"/>
                <a:gd name="connsiteX55" fmla="*/ 107434 w 120692"/>
                <a:gd name="connsiteY55" fmla="*/ 103304 h 208640"/>
                <a:gd name="connsiteX56" fmla="*/ 54397 w 120692"/>
                <a:gd name="connsiteY56" fmla="*/ 124372 h 20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20692" h="208640">
                  <a:moveTo>
                    <a:pt x="120213" y="103943"/>
                  </a:moveTo>
                  <a:lnTo>
                    <a:pt x="104239" y="71384"/>
                  </a:lnTo>
                  <a:cubicBezTo>
                    <a:pt x="101044" y="66277"/>
                    <a:pt x="97849" y="61808"/>
                    <a:pt x="93376" y="57340"/>
                  </a:cubicBezTo>
                  <a:lnTo>
                    <a:pt x="40978" y="4991"/>
                  </a:lnTo>
                  <a:cubicBezTo>
                    <a:pt x="40978" y="4991"/>
                    <a:pt x="40339" y="4991"/>
                    <a:pt x="40339" y="4353"/>
                  </a:cubicBezTo>
                  <a:cubicBezTo>
                    <a:pt x="32671" y="-2031"/>
                    <a:pt x="21808" y="-1393"/>
                    <a:pt x="14780" y="6268"/>
                  </a:cubicBezTo>
                  <a:lnTo>
                    <a:pt x="5195" y="16482"/>
                  </a:lnTo>
                  <a:cubicBezTo>
                    <a:pt x="-1835" y="24143"/>
                    <a:pt x="-1835" y="36273"/>
                    <a:pt x="5833" y="43295"/>
                  </a:cubicBezTo>
                  <a:lnTo>
                    <a:pt x="18613" y="56063"/>
                  </a:lnTo>
                  <a:lnTo>
                    <a:pt x="9667" y="65639"/>
                  </a:lnTo>
                  <a:cubicBezTo>
                    <a:pt x="3917" y="71384"/>
                    <a:pt x="722" y="76492"/>
                    <a:pt x="1360" y="81599"/>
                  </a:cubicBezTo>
                  <a:cubicBezTo>
                    <a:pt x="1360" y="84791"/>
                    <a:pt x="2638" y="87344"/>
                    <a:pt x="5195" y="89260"/>
                  </a:cubicBezTo>
                  <a:cubicBezTo>
                    <a:pt x="7750" y="92452"/>
                    <a:pt x="14140" y="95644"/>
                    <a:pt x="26920" y="86068"/>
                  </a:cubicBezTo>
                  <a:lnTo>
                    <a:pt x="30115" y="82876"/>
                  </a:lnTo>
                  <a:lnTo>
                    <a:pt x="43534" y="134586"/>
                  </a:lnTo>
                  <a:cubicBezTo>
                    <a:pt x="44173" y="136501"/>
                    <a:pt x="45451" y="137778"/>
                    <a:pt x="46729" y="138416"/>
                  </a:cubicBezTo>
                  <a:cubicBezTo>
                    <a:pt x="47368" y="139055"/>
                    <a:pt x="48646" y="139055"/>
                    <a:pt x="49285" y="139055"/>
                  </a:cubicBezTo>
                  <a:cubicBezTo>
                    <a:pt x="49924" y="139055"/>
                    <a:pt x="51202" y="139055"/>
                    <a:pt x="51841" y="138416"/>
                  </a:cubicBezTo>
                  <a:lnTo>
                    <a:pt x="62065" y="134586"/>
                  </a:lnTo>
                  <a:lnTo>
                    <a:pt x="60787" y="195234"/>
                  </a:lnTo>
                  <a:cubicBezTo>
                    <a:pt x="60787" y="202895"/>
                    <a:pt x="67177" y="208640"/>
                    <a:pt x="74206" y="208640"/>
                  </a:cubicBezTo>
                  <a:cubicBezTo>
                    <a:pt x="80596" y="208640"/>
                    <a:pt x="86347" y="204172"/>
                    <a:pt x="87625" y="197149"/>
                  </a:cubicBezTo>
                  <a:lnTo>
                    <a:pt x="99126" y="119264"/>
                  </a:lnTo>
                  <a:lnTo>
                    <a:pt x="116379" y="112242"/>
                  </a:lnTo>
                  <a:cubicBezTo>
                    <a:pt x="118296" y="111604"/>
                    <a:pt x="119574" y="110327"/>
                    <a:pt x="120213" y="108412"/>
                  </a:cubicBezTo>
                  <a:cubicBezTo>
                    <a:pt x="120852" y="107773"/>
                    <a:pt x="120852" y="105858"/>
                    <a:pt x="120213" y="103943"/>
                  </a:cubicBezTo>
                  <a:close/>
                  <a:moveTo>
                    <a:pt x="75484" y="195872"/>
                  </a:moveTo>
                  <a:cubicBezTo>
                    <a:pt x="75484" y="196511"/>
                    <a:pt x="74206" y="196511"/>
                    <a:pt x="74206" y="195872"/>
                  </a:cubicBezTo>
                  <a:lnTo>
                    <a:pt x="75484" y="130117"/>
                  </a:lnTo>
                  <a:lnTo>
                    <a:pt x="86347" y="125648"/>
                  </a:lnTo>
                  <a:lnTo>
                    <a:pt x="75484" y="195872"/>
                  </a:lnTo>
                  <a:close/>
                  <a:moveTo>
                    <a:pt x="54397" y="124372"/>
                  </a:moveTo>
                  <a:lnTo>
                    <a:pt x="41617" y="73938"/>
                  </a:lnTo>
                  <a:lnTo>
                    <a:pt x="45451" y="70746"/>
                  </a:lnTo>
                  <a:cubicBezTo>
                    <a:pt x="45451" y="70746"/>
                    <a:pt x="46090" y="70108"/>
                    <a:pt x="46090" y="70108"/>
                  </a:cubicBezTo>
                  <a:cubicBezTo>
                    <a:pt x="54397" y="59893"/>
                    <a:pt x="53758" y="50317"/>
                    <a:pt x="44173" y="41380"/>
                  </a:cubicBezTo>
                  <a:lnTo>
                    <a:pt x="31393" y="26697"/>
                  </a:lnTo>
                  <a:cubicBezTo>
                    <a:pt x="28837" y="24143"/>
                    <a:pt x="25003" y="24143"/>
                    <a:pt x="22447" y="26058"/>
                  </a:cubicBezTo>
                  <a:cubicBezTo>
                    <a:pt x="19891" y="27973"/>
                    <a:pt x="19891" y="32442"/>
                    <a:pt x="21808" y="34996"/>
                  </a:cubicBezTo>
                  <a:lnTo>
                    <a:pt x="35227" y="49679"/>
                  </a:lnTo>
                  <a:cubicBezTo>
                    <a:pt x="40978" y="54786"/>
                    <a:pt x="40339" y="57340"/>
                    <a:pt x="37144" y="61170"/>
                  </a:cubicBezTo>
                  <a:lnTo>
                    <a:pt x="30754" y="66916"/>
                  </a:lnTo>
                  <a:cubicBezTo>
                    <a:pt x="30754" y="66916"/>
                    <a:pt x="30754" y="66916"/>
                    <a:pt x="30754" y="66916"/>
                  </a:cubicBezTo>
                  <a:lnTo>
                    <a:pt x="19891" y="76492"/>
                  </a:lnTo>
                  <a:cubicBezTo>
                    <a:pt x="19252" y="77130"/>
                    <a:pt x="17974" y="77768"/>
                    <a:pt x="17335" y="78407"/>
                  </a:cubicBezTo>
                  <a:cubicBezTo>
                    <a:pt x="17974" y="77768"/>
                    <a:pt x="19252" y="76492"/>
                    <a:pt x="20530" y="75215"/>
                  </a:cubicBezTo>
                  <a:lnTo>
                    <a:pt x="30754" y="63724"/>
                  </a:lnTo>
                  <a:cubicBezTo>
                    <a:pt x="32671" y="61808"/>
                    <a:pt x="33949" y="59255"/>
                    <a:pt x="33949" y="56701"/>
                  </a:cubicBezTo>
                  <a:cubicBezTo>
                    <a:pt x="33949" y="54148"/>
                    <a:pt x="33310" y="50956"/>
                    <a:pt x="31393" y="49040"/>
                  </a:cubicBezTo>
                  <a:lnTo>
                    <a:pt x="16057" y="33719"/>
                  </a:lnTo>
                  <a:cubicBezTo>
                    <a:pt x="13501" y="31165"/>
                    <a:pt x="13501" y="27335"/>
                    <a:pt x="16057" y="24781"/>
                  </a:cubicBezTo>
                  <a:lnTo>
                    <a:pt x="25642" y="14567"/>
                  </a:lnTo>
                  <a:cubicBezTo>
                    <a:pt x="27559" y="12013"/>
                    <a:pt x="31393" y="12013"/>
                    <a:pt x="33949" y="13929"/>
                  </a:cubicBezTo>
                  <a:lnTo>
                    <a:pt x="86347" y="66277"/>
                  </a:lnTo>
                  <a:cubicBezTo>
                    <a:pt x="89541" y="69469"/>
                    <a:pt x="92736" y="73300"/>
                    <a:pt x="94654" y="77130"/>
                  </a:cubicBezTo>
                  <a:lnTo>
                    <a:pt x="107434" y="103304"/>
                  </a:lnTo>
                  <a:lnTo>
                    <a:pt x="54397" y="12437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B8D27EA0-7A91-E5C5-B28D-E087AB802558}"/>
                </a:ext>
              </a:extLst>
            </p:cNvPr>
            <p:cNvSpPr/>
            <p:nvPr/>
          </p:nvSpPr>
          <p:spPr>
            <a:xfrm>
              <a:off x="3673082" y="3465547"/>
              <a:ext cx="123818" cy="57934"/>
            </a:xfrm>
            <a:custGeom>
              <a:avLst/>
              <a:gdLst>
                <a:gd name="connsiteX0" fmla="*/ 112955 w 123818"/>
                <a:gd name="connsiteY0" fmla="*/ 15801 h 57934"/>
                <a:gd name="connsiteX1" fmla="*/ 90591 w 123818"/>
                <a:gd name="connsiteY1" fmla="*/ 15801 h 57934"/>
                <a:gd name="connsiteX2" fmla="*/ 87396 w 123818"/>
                <a:gd name="connsiteY2" fmla="*/ 15801 h 57934"/>
                <a:gd name="connsiteX3" fmla="*/ 72699 w 123818"/>
                <a:gd name="connsiteY3" fmla="*/ 27930 h 57934"/>
                <a:gd name="connsiteX4" fmla="*/ 72060 w 123818"/>
                <a:gd name="connsiteY4" fmla="*/ 29207 h 57934"/>
                <a:gd name="connsiteX5" fmla="*/ 71421 w 123818"/>
                <a:gd name="connsiteY5" fmla="*/ 29207 h 57934"/>
                <a:gd name="connsiteX6" fmla="*/ 70143 w 123818"/>
                <a:gd name="connsiteY6" fmla="*/ 19631 h 57934"/>
                <a:gd name="connsiteX7" fmla="*/ 65031 w 123818"/>
                <a:gd name="connsiteY7" fmla="*/ 10055 h 57934"/>
                <a:gd name="connsiteX8" fmla="*/ 57363 w 123818"/>
                <a:gd name="connsiteY8" fmla="*/ 2394 h 57934"/>
                <a:gd name="connsiteX9" fmla="*/ 44583 w 123818"/>
                <a:gd name="connsiteY9" fmla="*/ 2394 h 57934"/>
                <a:gd name="connsiteX10" fmla="*/ 43305 w 123818"/>
                <a:gd name="connsiteY10" fmla="*/ 13885 h 57934"/>
                <a:gd name="connsiteX11" fmla="*/ 47139 w 123818"/>
                <a:gd name="connsiteY11" fmla="*/ 20269 h 57934"/>
                <a:gd name="connsiteX12" fmla="*/ 47139 w 123818"/>
                <a:gd name="connsiteY12" fmla="*/ 22823 h 57934"/>
                <a:gd name="connsiteX13" fmla="*/ 43944 w 123818"/>
                <a:gd name="connsiteY13" fmla="*/ 25377 h 57934"/>
                <a:gd name="connsiteX14" fmla="*/ 40110 w 123818"/>
                <a:gd name="connsiteY14" fmla="*/ 27930 h 57934"/>
                <a:gd name="connsiteX15" fmla="*/ 17106 w 123818"/>
                <a:gd name="connsiteY15" fmla="*/ 17077 h 57934"/>
                <a:gd name="connsiteX16" fmla="*/ 17106 w 123818"/>
                <a:gd name="connsiteY16" fmla="*/ 17077 h 57934"/>
                <a:gd name="connsiteX17" fmla="*/ 493 w 123818"/>
                <a:gd name="connsiteY17" fmla="*/ 41337 h 57934"/>
                <a:gd name="connsiteX18" fmla="*/ 20940 w 123818"/>
                <a:gd name="connsiteY18" fmla="*/ 57935 h 57934"/>
                <a:gd name="connsiteX19" fmla="*/ 25413 w 123818"/>
                <a:gd name="connsiteY19" fmla="*/ 57296 h 57934"/>
                <a:gd name="connsiteX20" fmla="*/ 36915 w 123818"/>
                <a:gd name="connsiteY20" fmla="*/ 50274 h 57934"/>
                <a:gd name="connsiteX21" fmla="*/ 48417 w 123818"/>
                <a:gd name="connsiteY21" fmla="*/ 57296 h 57934"/>
                <a:gd name="connsiteX22" fmla="*/ 76533 w 123818"/>
                <a:gd name="connsiteY22" fmla="*/ 57296 h 57934"/>
                <a:gd name="connsiteX23" fmla="*/ 95064 w 123818"/>
                <a:gd name="connsiteY23" fmla="*/ 46444 h 57934"/>
                <a:gd name="connsiteX24" fmla="*/ 97619 w 123818"/>
                <a:gd name="connsiteY24" fmla="*/ 41975 h 57934"/>
                <a:gd name="connsiteX25" fmla="*/ 104648 w 123818"/>
                <a:gd name="connsiteY25" fmla="*/ 37506 h 57934"/>
                <a:gd name="connsiteX26" fmla="*/ 112316 w 123818"/>
                <a:gd name="connsiteY26" fmla="*/ 37506 h 57934"/>
                <a:gd name="connsiteX27" fmla="*/ 123818 w 123818"/>
                <a:gd name="connsiteY27" fmla="*/ 26015 h 57934"/>
                <a:gd name="connsiteX28" fmla="*/ 112955 w 123818"/>
                <a:gd name="connsiteY28" fmla="*/ 15801 h 57934"/>
                <a:gd name="connsiteX29" fmla="*/ 22857 w 123818"/>
                <a:gd name="connsiteY29" fmla="*/ 45167 h 57934"/>
                <a:gd name="connsiteX30" fmla="*/ 13272 w 123818"/>
                <a:gd name="connsiteY30" fmla="*/ 39421 h 57934"/>
                <a:gd name="connsiteX31" fmla="*/ 20301 w 123818"/>
                <a:gd name="connsiteY31" fmla="*/ 29845 h 57934"/>
                <a:gd name="connsiteX32" fmla="*/ 29886 w 123818"/>
                <a:gd name="connsiteY32" fmla="*/ 35591 h 57934"/>
                <a:gd name="connsiteX33" fmla="*/ 22857 w 123818"/>
                <a:gd name="connsiteY33" fmla="*/ 45167 h 57934"/>
                <a:gd name="connsiteX34" fmla="*/ 86757 w 123818"/>
                <a:gd name="connsiteY34" fmla="*/ 36229 h 57934"/>
                <a:gd name="connsiteX35" fmla="*/ 84201 w 123818"/>
                <a:gd name="connsiteY35" fmla="*/ 40698 h 57934"/>
                <a:gd name="connsiteX36" fmla="*/ 76533 w 123818"/>
                <a:gd name="connsiteY36" fmla="*/ 45167 h 57934"/>
                <a:gd name="connsiteX37" fmla="*/ 48417 w 123818"/>
                <a:gd name="connsiteY37" fmla="*/ 45167 h 57934"/>
                <a:gd name="connsiteX38" fmla="*/ 48417 w 123818"/>
                <a:gd name="connsiteY38" fmla="*/ 37506 h 57934"/>
                <a:gd name="connsiteX39" fmla="*/ 57363 w 123818"/>
                <a:gd name="connsiteY39" fmla="*/ 30484 h 57934"/>
                <a:gd name="connsiteX40" fmla="*/ 58641 w 123818"/>
                <a:gd name="connsiteY40" fmla="*/ 28569 h 57934"/>
                <a:gd name="connsiteX41" fmla="*/ 59280 w 123818"/>
                <a:gd name="connsiteY41" fmla="*/ 36229 h 57934"/>
                <a:gd name="connsiteX42" fmla="*/ 65670 w 123818"/>
                <a:gd name="connsiteY42" fmla="*/ 41975 h 57934"/>
                <a:gd name="connsiteX43" fmla="*/ 72699 w 123818"/>
                <a:gd name="connsiteY43" fmla="*/ 41975 h 57934"/>
                <a:gd name="connsiteX44" fmla="*/ 81006 w 123818"/>
                <a:gd name="connsiteY44" fmla="*/ 38783 h 57934"/>
                <a:gd name="connsiteX45" fmla="*/ 85479 w 123818"/>
                <a:gd name="connsiteY45" fmla="*/ 31761 h 57934"/>
                <a:gd name="connsiteX46" fmla="*/ 88674 w 123818"/>
                <a:gd name="connsiteY46" fmla="*/ 29207 h 57934"/>
                <a:gd name="connsiteX47" fmla="*/ 90591 w 123818"/>
                <a:gd name="connsiteY47" fmla="*/ 29207 h 57934"/>
                <a:gd name="connsiteX48" fmla="*/ 94424 w 123818"/>
                <a:gd name="connsiteY48" fmla="*/ 29207 h 57934"/>
                <a:gd name="connsiteX49" fmla="*/ 86757 w 123818"/>
                <a:gd name="connsiteY49" fmla="*/ 36229 h 5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23818" h="57934">
                  <a:moveTo>
                    <a:pt x="112955" y="15801"/>
                  </a:moveTo>
                  <a:lnTo>
                    <a:pt x="90591" y="15801"/>
                  </a:lnTo>
                  <a:cubicBezTo>
                    <a:pt x="89312" y="15801"/>
                    <a:pt x="88674" y="15801"/>
                    <a:pt x="87396" y="15801"/>
                  </a:cubicBezTo>
                  <a:cubicBezTo>
                    <a:pt x="80367" y="16439"/>
                    <a:pt x="74616" y="20908"/>
                    <a:pt x="72699" y="27930"/>
                  </a:cubicBezTo>
                  <a:cubicBezTo>
                    <a:pt x="72699" y="28569"/>
                    <a:pt x="72060" y="28569"/>
                    <a:pt x="72060" y="29207"/>
                  </a:cubicBezTo>
                  <a:lnTo>
                    <a:pt x="71421" y="29207"/>
                  </a:lnTo>
                  <a:lnTo>
                    <a:pt x="70143" y="19631"/>
                  </a:lnTo>
                  <a:cubicBezTo>
                    <a:pt x="69504" y="15801"/>
                    <a:pt x="68226" y="12609"/>
                    <a:pt x="65031" y="10055"/>
                  </a:cubicBezTo>
                  <a:lnTo>
                    <a:pt x="57363" y="2394"/>
                  </a:lnTo>
                  <a:cubicBezTo>
                    <a:pt x="53529" y="-798"/>
                    <a:pt x="47778" y="-798"/>
                    <a:pt x="44583" y="2394"/>
                  </a:cubicBezTo>
                  <a:cubicBezTo>
                    <a:pt x="41388" y="5586"/>
                    <a:pt x="40749" y="10055"/>
                    <a:pt x="43305" y="13885"/>
                  </a:cubicBezTo>
                  <a:lnTo>
                    <a:pt x="47139" y="20269"/>
                  </a:lnTo>
                  <a:cubicBezTo>
                    <a:pt x="47778" y="20908"/>
                    <a:pt x="47778" y="22185"/>
                    <a:pt x="47139" y="22823"/>
                  </a:cubicBezTo>
                  <a:cubicBezTo>
                    <a:pt x="46500" y="24100"/>
                    <a:pt x="45222" y="24738"/>
                    <a:pt x="43944" y="25377"/>
                  </a:cubicBezTo>
                  <a:cubicBezTo>
                    <a:pt x="42666" y="26015"/>
                    <a:pt x="41388" y="26653"/>
                    <a:pt x="40110" y="27930"/>
                  </a:cubicBezTo>
                  <a:cubicBezTo>
                    <a:pt x="35637" y="19631"/>
                    <a:pt x="26691" y="15162"/>
                    <a:pt x="17106" y="17077"/>
                  </a:cubicBezTo>
                  <a:lnTo>
                    <a:pt x="17106" y="17077"/>
                  </a:lnTo>
                  <a:cubicBezTo>
                    <a:pt x="5604" y="19631"/>
                    <a:pt x="-2064" y="30484"/>
                    <a:pt x="493" y="41337"/>
                  </a:cubicBezTo>
                  <a:cubicBezTo>
                    <a:pt x="2409" y="50912"/>
                    <a:pt x="11355" y="57935"/>
                    <a:pt x="20940" y="57935"/>
                  </a:cubicBezTo>
                  <a:cubicBezTo>
                    <a:pt x="22218" y="57935"/>
                    <a:pt x="24135" y="57935"/>
                    <a:pt x="25413" y="57296"/>
                  </a:cubicBezTo>
                  <a:cubicBezTo>
                    <a:pt x="29886" y="56020"/>
                    <a:pt x="34359" y="54104"/>
                    <a:pt x="36915" y="50274"/>
                  </a:cubicBezTo>
                  <a:cubicBezTo>
                    <a:pt x="38832" y="54743"/>
                    <a:pt x="43305" y="57296"/>
                    <a:pt x="48417" y="57296"/>
                  </a:cubicBezTo>
                  <a:lnTo>
                    <a:pt x="76533" y="57296"/>
                  </a:lnTo>
                  <a:cubicBezTo>
                    <a:pt x="84201" y="57296"/>
                    <a:pt x="91229" y="52828"/>
                    <a:pt x="95064" y="46444"/>
                  </a:cubicBezTo>
                  <a:lnTo>
                    <a:pt x="97619" y="41975"/>
                  </a:lnTo>
                  <a:cubicBezTo>
                    <a:pt x="98897" y="39421"/>
                    <a:pt x="102092" y="37506"/>
                    <a:pt x="104648" y="37506"/>
                  </a:cubicBezTo>
                  <a:lnTo>
                    <a:pt x="112316" y="37506"/>
                  </a:lnTo>
                  <a:cubicBezTo>
                    <a:pt x="118706" y="37506"/>
                    <a:pt x="123818" y="32399"/>
                    <a:pt x="123818" y="26015"/>
                  </a:cubicBezTo>
                  <a:cubicBezTo>
                    <a:pt x="123818" y="19631"/>
                    <a:pt x="119345" y="15801"/>
                    <a:pt x="112955" y="15801"/>
                  </a:cubicBezTo>
                  <a:close/>
                  <a:moveTo>
                    <a:pt x="22857" y="45167"/>
                  </a:moveTo>
                  <a:cubicBezTo>
                    <a:pt x="18384" y="45805"/>
                    <a:pt x="13911" y="43252"/>
                    <a:pt x="13272" y="39421"/>
                  </a:cubicBezTo>
                  <a:cubicBezTo>
                    <a:pt x="12633" y="34953"/>
                    <a:pt x="15189" y="31122"/>
                    <a:pt x="20301" y="29845"/>
                  </a:cubicBezTo>
                  <a:cubicBezTo>
                    <a:pt x="24774" y="29207"/>
                    <a:pt x="29247" y="31761"/>
                    <a:pt x="29886" y="35591"/>
                  </a:cubicBezTo>
                  <a:cubicBezTo>
                    <a:pt x="30525" y="40060"/>
                    <a:pt x="27330" y="43890"/>
                    <a:pt x="22857" y="45167"/>
                  </a:cubicBezTo>
                  <a:close/>
                  <a:moveTo>
                    <a:pt x="86757" y="36229"/>
                  </a:moveTo>
                  <a:lnTo>
                    <a:pt x="84201" y="40698"/>
                  </a:lnTo>
                  <a:cubicBezTo>
                    <a:pt x="82923" y="43252"/>
                    <a:pt x="79728" y="45167"/>
                    <a:pt x="76533" y="45167"/>
                  </a:cubicBezTo>
                  <a:lnTo>
                    <a:pt x="48417" y="45167"/>
                  </a:lnTo>
                  <a:lnTo>
                    <a:pt x="48417" y="37506"/>
                  </a:lnTo>
                  <a:cubicBezTo>
                    <a:pt x="51612" y="36229"/>
                    <a:pt x="54807" y="33676"/>
                    <a:pt x="57363" y="30484"/>
                  </a:cubicBezTo>
                  <a:cubicBezTo>
                    <a:pt x="58002" y="29845"/>
                    <a:pt x="58002" y="29207"/>
                    <a:pt x="58641" y="28569"/>
                  </a:cubicBezTo>
                  <a:lnTo>
                    <a:pt x="59280" y="36229"/>
                  </a:lnTo>
                  <a:cubicBezTo>
                    <a:pt x="59919" y="39421"/>
                    <a:pt x="62475" y="41975"/>
                    <a:pt x="65670" y="41975"/>
                  </a:cubicBezTo>
                  <a:lnTo>
                    <a:pt x="72699" y="41975"/>
                  </a:lnTo>
                  <a:cubicBezTo>
                    <a:pt x="75894" y="41975"/>
                    <a:pt x="78449" y="40698"/>
                    <a:pt x="81006" y="38783"/>
                  </a:cubicBezTo>
                  <a:cubicBezTo>
                    <a:pt x="82923" y="36868"/>
                    <a:pt x="84839" y="34314"/>
                    <a:pt x="85479" y="31761"/>
                  </a:cubicBezTo>
                  <a:cubicBezTo>
                    <a:pt x="86117" y="30484"/>
                    <a:pt x="87396" y="29207"/>
                    <a:pt x="88674" y="29207"/>
                  </a:cubicBezTo>
                  <a:cubicBezTo>
                    <a:pt x="89312" y="29207"/>
                    <a:pt x="89952" y="29207"/>
                    <a:pt x="90591" y="29207"/>
                  </a:cubicBezTo>
                  <a:lnTo>
                    <a:pt x="94424" y="29207"/>
                  </a:lnTo>
                  <a:cubicBezTo>
                    <a:pt x="91229" y="30484"/>
                    <a:pt x="88674" y="33037"/>
                    <a:pt x="86757" y="3622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9DCE075E-FE36-4197-03A1-59B835CE8A58}"/>
                </a:ext>
              </a:extLst>
            </p:cNvPr>
            <p:cNvSpPr/>
            <p:nvPr/>
          </p:nvSpPr>
          <p:spPr>
            <a:xfrm>
              <a:off x="3650570" y="3496031"/>
              <a:ext cx="133549" cy="110442"/>
            </a:xfrm>
            <a:custGeom>
              <a:avLst/>
              <a:gdLst>
                <a:gd name="connsiteX0" fmla="*/ 107990 w 133549"/>
                <a:gd name="connsiteY0" fmla="*/ 38942 h 110442"/>
                <a:gd name="connsiteX1" fmla="*/ 25560 w 133549"/>
                <a:gd name="connsiteY1" fmla="*/ 38942 h 110442"/>
                <a:gd name="connsiteX2" fmla="*/ 12780 w 133549"/>
                <a:gd name="connsiteY2" fmla="*/ 26174 h 110442"/>
                <a:gd name="connsiteX3" fmla="*/ 12780 w 133549"/>
                <a:gd name="connsiteY3" fmla="*/ 6384 h 110442"/>
                <a:gd name="connsiteX4" fmla="*/ 6390 w 133549"/>
                <a:gd name="connsiteY4" fmla="*/ 0 h 110442"/>
                <a:gd name="connsiteX5" fmla="*/ 0 w 133549"/>
                <a:gd name="connsiteY5" fmla="*/ 6384 h 110442"/>
                <a:gd name="connsiteX6" fmla="*/ 0 w 133549"/>
                <a:gd name="connsiteY6" fmla="*/ 26174 h 110442"/>
                <a:gd name="connsiteX7" fmla="*/ 25560 w 133549"/>
                <a:gd name="connsiteY7" fmla="*/ 51710 h 110442"/>
                <a:gd name="connsiteX8" fmla="*/ 107990 w 133549"/>
                <a:gd name="connsiteY8" fmla="*/ 51710 h 110442"/>
                <a:gd name="connsiteX9" fmla="*/ 120770 w 133549"/>
                <a:gd name="connsiteY9" fmla="*/ 64478 h 110442"/>
                <a:gd name="connsiteX10" fmla="*/ 120770 w 133549"/>
                <a:gd name="connsiteY10" fmla="*/ 104059 h 110442"/>
                <a:gd name="connsiteX11" fmla="*/ 127160 w 133549"/>
                <a:gd name="connsiteY11" fmla="*/ 110443 h 110442"/>
                <a:gd name="connsiteX12" fmla="*/ 133550 w 133549"/>
                <a:gd name="connsiteY12" fmla="*/ 104059 h 110442"/>
                <a:gd name="connsiteX13" fmla="*/ 133550 w 133549"/>
                <a:gd name="connsiteY13" fmla="*/ 64478 h 110442"/>
                <a:gd name="connsiteX14" fmla="*/ 107990 w 133549"/>
                <a:gd name="connsiteY14" fmla="*/ 38942 h 11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3549" h="110442">
                  <a:moveTo>
                    <a:pt x="107990" y="38942"/>
                  </a:moveTo>
                  <a:lnTo>
                    <a:pt x="25560" y="38942"/>
                  </a:lnTo>
                  <a:cubicBezTo>
                    <a:pt x="18531" y="38942"/>
                    <a:pt x="12780" y="33197"/>
                    <a:pt x="12780" y="2617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26174"/>
                  </a:lnTo>
                  <a:cubicBezTo>
                    <a:pt x="0" y="40219"/>
                    <a:pt x="11502" y="51710"/>
                    <a:pt x="25560" y="51710"/>
                  </a:cubicBezTo>
                  <a:lnTo>
                    <a:pt x="107990" y="51710"/>
                  </a:lnTo>
                  <a:cubicBezTo>
                    <a:pt x="115019" y="51710"/>
                    <a:pt x="120770" y="57456"/>
                    <a:pt x="120770" y="64478"/>
                  </a:cubicBezTo>
                  <a:lnTo>
                    <a:pt x="120770" y="104059"/>
                  </a:lnTo>
                  <a:cubicBezTo>
                    <a:pt x="120770" y="107889"/>
                    <a:pt x="123326" y="110443"/>
                    <a:pt x="127160" y="110443"/>
                  </a:cubicBezTo>
                  <a:cubicBezTo>
                    <a:pt x="130994" y="110443"/>
                    <a:pt x="133550" y="107889"/>
                    <a:pt x="133550" y="104059"/>
                  </a:cubicBezTo>
                  <a:lnTo>
                    <a:pt x="133550" y="64478"/>
                  </a:lnTo>
                  <a:cubicBezTo>
                    <a:pt x="133550" y="50434"/>
                    <a:pt x="122048" y="38942"/>
                    <a:pt x="107990" y="389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0" name="Graphic 4">
            <a:extLst>
              <a:ext uri="{FF2B5EF4-FFF2-40B4-BE49-F238E27FC236}">
                <a16:creationId xmlns:a16="http://schemas.microsoft.com/office/drawing/2014/main" id="{4DEF519B-6ED7-32D1-D6B9-81434D1FFAFD}"/>
              </a:ext>
            </a:extLst>
          </p:cNvPr>
          <p:cNvGrpSpPr/>
          <p:nvPr/>
        </p:nvGrpSpPr>
        <p:grpSpPr>
          <a:xfrm>
            <a:off x="9009475" y="2253046"/>
            <a:ext cx="914400" cy="914400"/>
            <a:chOff x="4660820" y="4793256"/>
            <a:chExt cx="362312" cy="361971"/>
          </a:xfrm>
          <a:solidFill>
            <a:srgbClr val="43B02A"/>
          </a:solidFill>
        </p:grpSpPr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691B9304-79B1-BDAB-869C-20AD6386F3E7}"/>
                </a:ext>
              </a:extLst>
            </p:cNvPr>
            <p:cNvSpPr/>
            <p:nvPr/>
          </p:nvSpPr>
          <p:spPr>
            <a:xfrm>
              <a:off x="4660820" y="4793256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5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81474 w 362312"/>
                <a:gd name="connsiteY6" fmla="*/ 0 h 361971"/>
                <a:gd name="connsiteX7" fmla="*/ 181474 w 362312"/>
                <a:gd name="connsiteY7" fmla="*/ 348565 h 361971"/>
                <a:gd name="connsiteX8" fmla="*/ 12780 w 362312"/>
                <a:gd name="connsiteY8" fmla="*/ 180667 h 361971"/>
                <a:gd name="connsiteX9" fmla="*/ 180835 w 362312"/>
                <a:gd name="connsiteY9" fmla="*/ 12129 h 361971"/>
                <a:gd name="connsiteX10" fmla="*/ 349529 w 362312"/>
                <a:gd name="connsiteY10" fmla="*/ 180028 h 361971"/>
                <a:gd name="connsiteX11" fmla="*/ 349529 w 362312"/>
                <a:gd name="connsiteY11" fmla="*/ 180028 h 361971"/>
                <a:gd name="connsiteX12" fmla="*/ 181474 w 362312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0438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29"/>
                    <a:pt x="180835" y="12129"/>
                  </a:cubicBezTo>
                  <a:cubicBezTo>
                    <a:pt x="274128" y="12129"/>
                    <a:pt x="349529" y="87461"/>
                    <a:pt x="349529" y="180028"/>
                  </a:cubicBezTo>
                  <a:lnTo>
                    <a:pt x="349529" y="180028"/>
                  </a:lnTo>
                  <a:cubicBezTo>
                    <a:pt x="349529" y="273234"/>
                    <a:pt x="274767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134FBEFE-DDC8-C0F8-2D88-866631674864}"/>
                </a:ext>
              </a:extLst>
            </p:cNvPr>
            <p:cNvSpPr/>
            <p:nvPr/>
          </p:nvSpPr>
          <p:spPr>
            <a:xfrm>
              <a:off x="4714495" y="4846243"/>
              <a:ext cx="255597" cy="255359"/>
            </a:xfrm>
            <a:custGeom>
              <a:avLst/>
              <a:gdLst>
                <a:gd name="connsiteX0" fmla="*/ 127799 w 255597"/>
                <a:gd name="connsiteY0" fmla="*/ 0 h 255359"/>
                <a:gd name="connsiteX1" fmla="*/ 0 w 255597"/>
                <a:gd name="connsiteY1" fmla="*/ 127680 h 255359"/>
                <a:gd name="connsiteX2" fmla="*/ 127799 w 255597"/>
                <a:gd name="connsiteY2" fmla="*/ 255359 h 255359"/>
                <a:gd name="connsiteX3" fmla="*/ 255597 w 255597"/>
                <a:gd name="connsiteY3" fmla="*/ 127680 h 255359"/>
                <a:gd name="connsiteX4" fmla="*/ 127799 w 255597"/>
                <a:gd name="connsiteY4" fmla="*/ 0 h 255359"/>
                <a:gd name="connsiteX5" fmla="*/ 159110 w 255597"/>
                <a:gd name="connsiteY5" fmla="*/ 17237 h 255359"/>
                <a:gd name="connsiteX6" fmla="*/ 238984 w 255597"/>
                <a:gd name="connsiteY6" fmla="*/ 97037 h 255359"/>
                <a:gd name="connsiteX7" fmla="*/ 191059 w 255597"/>
                <a:gd name="connsiteY7" fmla="*/ 104059 h 255359"/>
                <a:gd name="connsiteX8" fmla="*/ 152720 w 255597"/>
                <a:gd name="connsiteY8" fmla="*/ 65755 h 255359"/>
                <a:gd name="connsiteX9" fmla="*/ 159110 w 255597"/>
                <a:gd name="connsiteY9" fmla="*/ 17237 h 255359"/>
                <a:gd name="connsiteX10" fmla="*/ 182113 w 255597"/>
                <a:gd name="connsiteY10" fmla="*/ 127680 h 255359"/>
                <a:gd name="connsiteX11" fmla="*/ 127799 w 255597"/>
                <a:gd name="connsiteY11" fmla="*/ 181944 h 255359"/>
                <a:gd name="connsiteX12" fmla="*/ 73484 w 255597"/>
                <a:gd name="connsiteY12" fmla="*/ 127680 h 255359"/>
                <a:gd name="connsiteX13" fmla="*/ 127799 w 255597"/>
                <a:gd name="connsiteY13" fmla="*/ 73416 h 255359"/>
                <a:gd name="connsiteX14" fmla="*/ 127799 w 255597"/>
                <a:gd name="connsiteY14" fmla="*/ 73416 h 255359"/>
                <a:gd name="connsiteX15" fmla="*/ 182113 w 255597"/>
                <a:gd name="connsiteY15" fmla="*/ 127680 h 255359"/>
                <a:gd name="connsiteX16" fmla="*/ 182113 w 255597"/>
                <a:gd name="connsiteY16" fmla="*/ 127680 h 255359"/>
                <a:gd name="connsiteX17" fmla="*/ 127799 w 255597"/>
                <a:gd name="connsiteY17" fmla="*/ 12768 h 255359"/>
                <a:gd name="connsiteX18" fmla="*/ 146330 w 255597"/>
                <a:gd name="connsiteY18" fmla="*/ 14045 h 255359"/>
                <a:gd name="connsiteX19" fmla="*/ 139301 w 255597"/>
                <a:gd name="connsiteY19" fmla="*/ 61286 h 255359"/>
                <a:gd name="connsiteX20" fmla="*/ 116297 w 255597"/>
                <a:gd name="connsiteY20" fmla="*/ 61286 h 255359"/>
                <a:gd name="connsiteX21" fmla="*/ 109268 w 255597"/>
                <a:gd name="connsiteY21" fmla="*/ 14045 h 255359"/>
                <a:gd name="connsiteX22" fmla="*/ 127799 w 255597"/>
                <a:gd name="connsiteY22" fmla="*/ 12768 h 255359"/>
                <a:gd name="connsiteX23" fmla="*/ 127799 w 255597"/>
                <a:gd name="connsiteY23" fmla="*/ 12768 h 255359"/>
                <a:gd name="connsiteX24" fmla="*/ 97127 w 255597"/>
                <a:gd name="connsiteY24" fmla="*/ 17237 h 255359"/>
                <a:gd name="connsiteX25" fmla="*/ 104156 w 255597"/>
                <a:gd name="connsiteY25" fmla="*/ 65117 h 255359"/>
                <a:gd name="connsiteX26" fmla="*/ 65816 w 255597"/>
                <a:gd name="connsiteY26" fmla="*/ 103421 h 255359"/>
                <a:gd name="connsiteX27" fmla="*/ 17892 w 255597"/>
                <a:gd name="connsiteY27" fmla="*/ 96398 h 255359"/>
                <a:gd name="connsiteX28" fmla="*/ 97127 w 255597"/>
                <a:gd name="connsiteY28" fmla="*/ 17237 h 255359"/>
                <a:gd name="connsiteX29" fmla="*/ 97127 w 255597"/>
                <a:gd name="connsiteY29" fmla="*/ 17237 h 255359"/>
                <a:gd name="connsiteX30" fmla="*/ 13419 w 255597"/>
                <a:gd name="connsiteY30" fmla="*/ 127680 h 255359"/>
                <a:gd name="connsiteX31" fmla="*/ 14697 w 255597"/>
                <a:gd name="connsiteY31" fmla="*/ 109166 h 255359"/>
                <a:gd name="connsiteX32" fmla="*/ 61982 w 255597"/>
                <a:gd name="connsiteY32" fmla="*/ 116189 h 255359"/>
                <a:gd name="connsiteX33" fmla="*/ 61982 w 255597"/>
                <a:gd name="connsiteY33" fmla="*/ 139171 h 255359"/>
                <a:gd name="connsiteX34" fmla="*/ 14697 w 255597"/>
                <a:gd name="connsiteY34" fmla="*/ 146193 h 255359"/>
                <a:gd name="connsiteX35" fmla="*/ 13419 w 255597"/>
                <a:gd name="connsiteY35" fmla="*/ 127680 h 255359"/>
                <a:gd name="connsiteX36" fmla="*/ 13419 w 255597"/>
                <a:gd name="connsiteY36" fmla="*/ 127680 h 255359"/>
                <a:gd name="connsiteX37" fmla="*/ 97127 w 255597"/>
                <a:gd name="connsiteY37" fmla="*/ 238122 h 255359"/>
                <a:gd name="connsiteX38" fmla="*/ 17253 w 255597"/>
                <a:gd name="connsiteY38" fmla="*/ 158323 h 255359"/>
                <a:gd name="connsiteX39" fmla="*/ 65177 w 255597"/>
                <a:gd name="connsiteY39" fmla="*/ 151300 h 255359"/>
                <a:gd name="connsiteX40" fmla="*/ 103517 w 255597"/>
                <a:gd name="connsiteY40" fmla="*/ 189604 h 255359"/>
                <a:gd name="connsiteX41" fmla="*/ 97127 w 255597"/>
                <a:gd name="connsiteY41" fmla="*/ 238122 h 255359"/>
                <a:gd name="connsiteX42" fmla="*/ 127799 w 255597"/>
                <a:gd name="connsiteY42" fmla="*/ 242591 h 255359"/>
                <a:gd name="connsiteX43" fmla="*/ 109268 w 255597"/>
                <a:gd name="connsiteY43" fmla="*/ 241314 h 255359"/>
                <a:gd name="connsiteX44" fmla="*/ 116297 w 255597"/>
                <a:gd name="connsiteY44" fmla="*/ 194073 h 255359"/>
                <a:gd name="connsiteX45" fmla="*/ 139301 w 255597"/>
                <a:gd name="connsiteY45" fmla="*/ 194073 h 255359"/>
                <a:gd name="connsiteX46" fmla="*/ 146330 w 255597"/>
                <a:gd name="connsiteY46" fmla="*/ 241314 h 255359"/>
                <a:gd name="connsiteX47" fmla="*/ 127799 w 255597"/>
                <a:gd name="connsiteY47" fmla="*/ 242591 h 255359"/>
                <a:gd name="connsiteX48" fmla="*/ 127799 w 255597"/>
                <a:gd name="connsiteY48" fmla="*/ 242591 h 255359"/>
                <a:gd name="connsiteX49" fmla="*/ 159110 w 255597"/>
                <a:gd name="connsiteY49" fmla="*/ 238122 h 255359"/>
                <a:gd name="connsiteX50" fmla="*/ 152080 w 255597"/>
                <a:gd name="connsiteY50" fmla="*/ 190243 h 255359"/>
                <a:gd name="connsiteX51" fmla="*/ 190420 w 255597"/>
                <a:gd name="connsiteY51" fmla="*/ 151939 h 255359"/>
                <a:gd name="connsiteX52" fmla="*/ 238345 w 255597"/>
                <a:gd name="connsiteY52" fmla="*/ 158961 h 255359"/>
                <a:gd name="connsiteX53" fmla="*/ 159110 w 255597"/>
                <a:gd name="connsiteY53" fmla="*/ 238122 h 255359"/>
                <a:gd name="connsiteX54" fmla="*/ 159110 w 255597"/>
                <a:gd name="connsiteY54" fmla="*/ 238122 h 255359"/>
                <a:gd name="connsiteX55" fmla="*/ 194254 w 255597"/>
                <a:gd name="connsiteY55" fmla="*/ 139171 h 255359"/>
                <a:gd name="connsiteX56" fmla="*/ 194254 w 255597"/>
                <a:gd name="connsiteY56" fmla="*/ 116189 h 255359"/>
                <a:gd name="connsiteX57" fmla="*/ 241540 w 255597"/>
                <a:gd name="connsiteY57" fmla="*/ 109166 h 255359"/>
                <a:gd name="connsiteX58" fmla="*/ 241540 w 255597"/>
                <a:gd name="connsiteY58" fmla="*/ 146193 h 255359"/>
                <a:gd name="connsiteX59" fmla="*/ 194254 w 255597"/>
                <a:gd name="connsiteY59" fmla="*/ 139171 h 25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55597" h="255359">
                  <a:moveTo>
                    <a:pt x="127799" y="0"/>
                  </a:moveTo>
                  <a:cubicBezTo>
                    <a:pt x="57509" y="0"/>
                    <a:pt x="0" y="57456"/>
                    <a:pt x="0" y="127680"/>
                  </a:cubicBezTo>
                  <a:cubicBezTo>
                    <a:pt x="0" y="197903"/>
                    <a:pt x="57509" y="255359"/>
                    <a:pt x="127799" y="255359"/>
                  </a:cubicBezTo>
                  <a:cubicBezTo>
                    <a:pt x="198088" y="255359"/>
                    <a:pt x="255597" y="197903"/>
                    <a:pt x="255597" y="127680"/>
                  </a:cubicBezTo>
                  <a:cubicBezTo>
                    <a:pt x="255597" y="57456"/>
                    <a:pt x="198727" y="0"/>
                    <a:pt x="127799" y="0"/>
                  </a:cubicBezTo>
                  <a:close/>
                  <a:moveTo>
                    <a:pt x="159110" y="17237"/>
                  </a:moveTo>
                  <a:cubicBezTo>
                    <a:pt x="197449" y="28090"/>
                    <a:pt x="228121" y="58094"/>
                    <a:pt x="238984" y="97037"/>
                  </a:cubicBezTo>
                  <a:lnTo>
                    <a:pt x="191059" y="104059"/>
                  </a:lnTo>
                  <a:cubicBezTo>
                    <a:pt x="184030" y="86184"/>
                    <a:pt x="170611" y="72778"/>
                    <a:pt x="152720" y="65755"/>
                  </a:cubicBezTo>
                  <a:lnTo>
                    <a:pt x="159110" y="17237"/>
                  </a:lnTo>
                  <a:close/>
                  <a:moveTo>
                    <a:pt x="182113" y="127680"/>
                  </a:moveTo>
                  <a:cubicBezTo>
                    <a:pt x="182113" y="157684"/>
                    <a:pt x="157832" y="181944"/>
                    <a:pt x="127799" y="181944"/>
                  </a:cubicBezTo>
                  <a:cubicBezTo>
                    <a:pt x="97766" y="181944"/>
                    <a:pt x="73484" y="157684"/>
                    <a:pt x="73484" y="127680"/>
                  </a:cubicBezTo>
                  <a:cubicBezTo>
                    <a:pt x="73484" y="97675"/>
                    <a:pt x="97766" y="73416"/>
                    <a:pt x="127799" y="73416"/>
                  </a:cubicBezTo>
                  <a:cubicBezTo>
                    <a:pt x="127799" y="73416"/>
                    <a:pt x="127799" y="73416"/>
                    <a:pt x="127799" y="73416"/>
                  </a:cubicBezTo>
                  <a:cubicBezTo>
                    <a:pt x="157832" y="73416"/>
                    <a:pt x="182113" y="97675"/>
                    <a:pt x="182113" y="127680"/>
                  </a:cubicBezTo>
                  <a:lnTo>
                    <a:pt x="182113" y="127680"/>
                  </a:lnTo>
                  <a:close/>
                  <a:moveTo>
                    <a:pt x="127799" y="12768"/>
                  </a:moveTo>
                  <a:cubicBezTo>
                    <a:pt x="134189" y="12768"/>
                    <a:pt x="139940" y="13406"/>
                    <a:pt x="146330" y="14045"/>
                  </a:cubicBezTo>
                  <a:lnTo>
                    <a:pt x="139301" y="61286"/>
                  </a:lnTo>
                  <a:cubicBezTo>
                    <a:pt x="131633" y="60010"/>
                    <a:pt x="123965" y="60010"/>
                    <a:pt x="116297" y="61286"/>
                  </a:cubicBezTo>
                  <a:lnTo>
                    <a:pt x="109268" y="14045"/>
                  </a:lnTo>
                  <a:cubicBezTo>
                    <a:pt x="115658" y="13406"/>
                    <a:pt x="121409" y="12768"/>
                    <a:pt x="127799" y="12768"/>
                  </a:cubicBezTo>
                  <a:lnTo>
                    <a:pt x="127799" y="12768"/>
                  </a:lnTo>
                  <a:close/>
                  <a:moveTo>
                    <a:pt x="97127" y="17237"/>
                  </a:moveTo>
                  <a:lnTo>
                    <a:pt x="104156" y="65117"/>
                  </a:lnTo>
                  <a:cubicBezTo>
                    <a:pt x="86264" y="72139"/>
                    <a:pt x="72845" y="85546"/>
                    <a:pt x="65816" y="103421"/>
                  </a:cubicBezTo>
                  <a:lnTo>
                    <a:pt x="17892" y="96398"/>
                  </a:lnTo>
                  <a:cubicBezTo>
                    <a:pt x="28755" y="58094"/>
                    <a:pt x="58788" y="28090"/>
                    <a:pt x="97127" y="17237"/>
                  </a:cubicBezTo>
                  <a:lnTo>
                    <a:pt x="97127" y="17237"/>
                  </a:lnTo>
                  <a:close/>
                  <a:moveTo>
                    <a:pt x="13419" y="127680"/>
                  </a:moveTo>
                  <a:cubicBezTo>
                    <a:pt x="13419" y="121296"/>
                    <a:pt x="14058" y="115550"/>
                    <a:pt x="14697" y="109166"/>
                  </a:cubicBezTo>
                  <a:lnTo>
                    <a:pt x="61982" y="116189"/>
                  </a:lnTo>
                  <a:cubicBezTo>
                    <a:pt x="60704" y="123849"/>
                    <a:pt x="60704" y="131510"/>
                    <a:pt x="61982" y="139171"/>
                  </a:cubicBezTo>
                  <a:lnTo>
                    <a:pt x="14697" y="146193"/>
                  </a:lnTo>
                  <a:cubicBezTo>
                    <a:pt x="13419" y="139809"/>
                    <a:pt x="13419" y="133425"/>
                    <a:pt x="13419" y="127680"/>
                  </a:cubicBezTo>
                  <a:lnTo>
                    <a:pt x="13419" y="127680"/>
                  </a:lnTo>
                  <a:close/>
                  <a:moveTo>
                    <a:pt x="97127" y="238122"/>
                  </a:moveTo>
                  <a:cubicBezTo>
                    <a:pt x="58788" y="227270"/>
                    <a:pt x="28116" y="197265"/>
                    <a:pt x="17253" y="158323"/>
                  </a:cubicBezTo>
                  <a:lnTo>
                    <a:pt x="65177" y="151300"/>
                  </a:lnTo>
                  <a:cubicBezTo>
                    <a:pt x="72206" y="168537"/>
                    <a:pt x="86264" y="182582"/>
                    <a:pt x="103517" y="189604"/>
                  </a:cubicBezTo>
                  <a:lnTo>
                    <a:pt x="97127" y="238122"/>
                  </a:lnTo>
                  <a:close/>
                  <a:moveTo>
                    <a:pt x="127799" y="242591"/>
                  </a:moveTo>
                  <a:cubicBezTo>
                    <a:pt x="121409" y="242591"/>
                    <a:pt x="115658" y="241953"/>
                    <a:pt x="109268" y="241314"/>
                  </a:cubicBezTo>
                  <a:lnTo>
                    <a:pt x="116297" y="194073"/>
                  </a:lnTo>
                  <a:cubicBezTo>
                    <a:pt x="123965" y="195350"/>
                    <a:pt x="131633" y="195350"/>
                    <a:pt x="139301" y="194073"/>
                  </a:cubicBezTo>
                  <a:lnTo>
                    <a:pt x="146330" y="241314"/>
                  </a:lnTo>
                  <a:cubicBezTo>
                    <a:pt x="140579" y="241953"/>
                    <a:pt x="134189" y="242591"/>
                    <a:pt x="127799" y="242591"/>
                  </a:cubicBezTo>
                  <a:lnTo>
                    <a:pt x="127799" y="242591"/>
                  </a:lnTo>
                  <a:close/>
                  <a:moveTo>
                    <a:pt x="159110" y="238122"/>
                  </a:moveTo>
                  <a:lnTo>
                    <a:pt x="152080" y="190243"/>
                  </a:lnTo>
                  <a:cubicBezTo>
                    <a:pt x="169333" y="183220"/>
                    <a:pt x="183391" y="169176"/>
                    <a:pt x="190420" y="151939"/>
                  </a:cubicBezTo>
                  <a:lnTo>
                    <a:pt x="238345" y="158961"/>
                  </a:lnTo>
                  <a:cubicBezTo>
                    <a:pt x="227482" y="197265"/>
                    <a:pt x="197449" y="227270"/>
                    <a:pt x="159110" y="238122"/>
                  </a:cubicBezTo>
                  <a:lnTo>
                    <a:pt x="159110" y="238122"/>
                  </a:lnTo>
                  <a:close/>
                  <a:moveTo>
                    <a:pt x="194254" y="139171"/>
                  </a:moveTo>
                  <a:cubicBezTo>
                    <a:pt x="195532" y="131510"/>
                    <a:pt x="195532" y="123849"/>
                    <a:pt x="194254" y="116189"/>
                  </a:cubicBezTo>
                  <a:lnTo>
                    <a:pt x="241540" y="109166"/>
                  </a:lnTo>
                  <a:cubicBezTo>
                    <a:pt x="243457" y="121296"/>
                    <a:pt x="243457" y="133425"/>
                    <a:pt x="241540" y="146193"/>
                  </a:cubicBezTo>
                  <a:lnTo>
                    <a:pt x="194254" y="13917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935034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任意多边形 10">
            <a:extLst>
              <a:ext uri="{FF2B5EF4-FFF2-40B4-BE49-F238E27FC236}">
                <a16:creationId xmlns:a16="http://schemas.microsoft.com/office/drawing/2014/main" id="{E6871BFF-1C29-D064-9592-98A19BC22A84}"/>
              </a:ext>
            </a:extLst>
          </p:cNvPr>
          <p:cNvSpPr/>
          <p:nvPr/>
        </p:nvSpPr>
        <p:spPr>
          <a:xfrm>
            <a:off x="2805439" y="2651959"/>
            <a:ext cx="2771952" cy="2723040"/>
          </a:xfrm>
          <a:custGeom>
            <a:avLst/>
            <a:gdLst>
              <a:gd name="connsiteX0" fmla="*/ 1550731 w 1550731"/>
              <a:gd name="connsiteY0" fmla="*/ 761202 h 1523369"/>
              <a:gd name="connsiteX1" fmla="*/ 1550684 w 1550731"/>
              <a:gd name="connsiteY1" fmla="*/ 761690 h 1523369"/>
              <a:gd name="connsiteX2" fmla="*/ 1550730 w 1550731"/>
              <a:gd name="connsiteY2" fmla="*/ 762168 h 1523369"/>
              <a:gd name="connsiteX3" fmla="*/ 1476913 w 1550731"/>
              <a:gd name="connsiteY3" fmla="*/ 940378 h 1523369"/>
              <a:gd name="connsiteX4" fmla="*/ 967739 w 1550731"/>
              <a:gd name="connsiteY4" fmla="*/ 1449552 h 1523369"/>
              <a:gd name="connsiteX5" fmla="*/ 611318 w 1550731"/>
              <a:gd name="connsiteY5" fmla="*/ 1449552 h 1523369"/>
              <a:gd name="connsiteX6" fmla="*/ 611318 w 1550731"/>
              <a:gd name="connsiteY6" fmla="*/ 1093130 h 1523369"/>
              <a:gd name="connsiteX7" fmla="*/ 687694 w 1550731"/>
              <a:gd name="connsiteY7" fmla="*/ 1016754 h 1523369"/>
              <a:gd name="connsiteX8" fmla="*/ 252028 w 1550731"/>
              <a:gd name="connsiteY8" fmla="*/ 1016754 h 1523369"/>
              <a:gd name="connsiteX9" fmla="*/ 0 w 1550731"/>
              <a:gd name="connsiteY9" fmla="*/ 764726 h 1523369"/>
              <a:gd name="connsiteX10" fmla="*/ 252028 w 1550731"/>
              <a:gd name="connsiteY10" fmla="*/ 512698 h 1523369"/>
              <a:gd name="connsiteX11" fmla="*/ 693779 w 1550731"/>
              <a:gd name="connsiteY11" fmla="*/ 512698 h 1523369"/>
              <a:gd name="connsiteX12" fmla="*/ 611319 w 1550731"/>
              <a:gd name="connsiteY12" fmla="*/ 430238 h 1523369"/>
              <a:gd name="connsiteX13" fmla="*/ 611319 w 1550731"/>
              <a:gd name="connsiteY13" fmla="*/ 73817 h 1523369"/>
              <a:gd name="connsiteX14" fmla="*/ 967741 w 1550731"/>
              <a:gd name="connsiteY14" fmla="*/ 73817 h 1523369"/>
              <a:gd name="connsiteX15" fmla="*/ 1476914 w 1550731"/>
              <a:gd name="connsiteY15" fmla="*/ 582991 h 1523369"/>
              <a:gd name="connsiteX16" fmla="*/ 1550731 w 1550731"/>
              <a:gd name="connsiteY16" fmla="*/ 761202 h 152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50731" h="1523369">
                <a:moveTo>
                  <a:pt x="1550731" y="761202"/>
                </a:moveTo>
                <a:lnTo>
                  <a:pt x="1550684" y="761690"/>
                </a:lnTo>
                <a:lnTo>
                  <a:pt x="1550730" y="762168"/>
                </a:lnTo>
                <a:cubicBezTo>
                  <a:pt x="1550730" y="826667"/>
                  <a:pt x="1526124" y="891167"/>
                  <a:pt x="1476913" y="940378"/>
                </a:cubicBezTo>
                <a:lnTo>
                  <a:pt x="967739" y="1449552"/>
                </a:lnTo>
                <a:cubicBezTo>
                  <a:pt x="869316" y="1547975"/>
                  <a:pt x="709741" y="1547975"/>
                  <a:pt x="611318" y="1449552"/>
                </a:cubicBezTo>
                <a:cubicBezTo>
                  <a:pt x="512895" y="1351129"/>
                  <a:pt x="512895" y="1191553"/>
                  <a:pt x="611318" y="1093130"/>
                </a:cubicBezTo>
                <a:lnTo>
                  <a:pt x="687694" y="1016754"/>
                </a:lnTo>
                <a:lnTo>
                  <a:pt x="252028" y="1016754"/>
                </a:lnTo>
                <a:cubicBezTo>
                  <a:pt x="112837" y="1016754"/>
                  <a:pt x="0" y="903917"/>
                  <a:pt x="0" y="764726"/>
                </a:cubicBezTo>
                <a:cubicBezTo>
                  <a:pt x="0" y="625535"/>
                  <a:pt x="112837" y="512698"/>
                  <a:pt x="252028" y="512698"/>
                </a:cubicBezTo>
                <a:lnTo>
                  <a:pt x="693779" y="512698"/>
                </a:lnTo>
                <a:lnTo>
                  <a:pt x="611319" y="430238"/>
                </a:lnTo>
                <a:cubicBezTo>
                  <a:pt x="512896" y="331815"/>
                  <a:pt x="512896" y="172240"/>
                  <a:pt x="611319" y="73817"/>
                </a:cubicBezTo>
                <a:cubicBezTo>
                  <a:pt x="709742" y="-24606"/>
                  <a:pt x="869318" y="-24606"/>
                  <a:pt x="967741" y="73817"/>
                </a:cubicBezTo>
                <a:lnTo>
                  <a:pt x="1476914" y="582991"/>
                </a:lnTo>
                <a:cubicBezTo>
                  <a:pt x="1526125" y="632202"/>
                  <a:pt x="1550731" y="696702"/>
                  <a:pt x="1550731" y="76120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任意多边形 11">
            <a:extLst>
              <a:ext uri="{FF2B5EF4-FFF2-40B4-BE49-F238E27FC236}">
                <a16:creationId xmlns:a16="http://schemas.microsoft.com/office/drawing/2014/main" id="{2CAD3033-3D68-A1DA-6CC9-5D5DBAF84B3A}"/>
              </a:ext>
            </a:extLst>
          </p:cNvPr>
          <p:cNvSpPr/>
          <p:nvPr/>
        </p:nvSpPr>
        <p:spPr>
          <a:xfrm rot="10800000">
            <a:off x="4975577" y="1762960"/>
            <a:ext cx="2240845" cy="2201305"/>
          </a:xfrm>
          <a:custGeom>
            <a:avLst/>
            <a:gdLst>
              <a:gd name="connsiteX0" fmla="*/ 1550731 w 1550731"/>
              <a:gd name="connsiteY0" fmla="*/ 761202 h 1523369"/>
              <a:gd name="connsiteX1" fmla="*/ 1550684 w 1550731"/>
              <a:gd name="connsiteY1" fmla="*/ 761690 h 1523369"/>
              <a:gd name="connsiteX2" fmla="*/ 1550730 w 1550731"/>
              <a:gd name="connsiteY2" fmla="*/ 762168 h 1523369"/>
              <a:gd name="connsiteX3" fmla="*/ 1476913 w 1550731"/>
              <a:gd name="connsiteY3" fmla="*/ 940378 h 1523369"/>
              <a:gd name="connsiteX4" fmla="*/ 967739 w 1550731"/>
              <a:gd name="connsiteY4" fmla="*/ 1449552 h 1523369"/>
              <a:gd name="connsiteX5" fmla="*/ 611318 w 1550731"/>
              <a:gd name="connsiteY5" fmla="*/ 1449552 h 1523369"/>
              <a:gd name="connsiteX6" fmla="*/ 611318 w 1550731"/>
              <a:gd name="connsiteY6" fmla="*/ 1093130 h 1523369"/>
              <a:gd name="connsiteX7" fmla="*/ 687694 w 1550731"/>
              <a:gd name="connsiteY7" fmla="*/ 1016754 h 1523369"/>
              <a:gd name="connsiteX8" fmla="*/ 252028 w 1550731"/>
              <a:gd name="connsiteY8" fmla="*/ 1016754 h 1523369"/>
              <a:gd name="connsiteX9" fmla="*/ 0 w 1550731"/>
              <a:gd name="connsiteY9" fmla="*/ 764726 h 1523369"/>
              <a:gd name="connsiteX10" fmla="*/ 252028 w 1550731"/>
              <a:gd name="connsiteY10" fmla="*/ 512698 h 1523369"/>
              <a:gd name="connsiteX11" fmla="*/ 693779 w 1550731"/>
              <a:gd name="connsiteY11" fmla="*/ 512698 h 1523369"/>
              <a:gd name="connsiteX12" fmla="*/ 611319 w 1550731"/>
              <a:gd name="connsiteY12" fmla="*/ 430238 h 1523369"/>
              <a:gd name="connsiteX13" fmla="*/ 611319 w 1550731"/>
              <a:gd name="connsiteY13" fmla="*/ 73817 h 1523369"/>
              <a:gd name="connsiteX14" fmla="*/ 967741 w 1550731"/>
              <a:gd name="connsiteY14" fmla="*/ 73817 h 1523369"/>
              <a:gd name="connsiteX15" fmla="*/ 1476914 w 1550731"/>
              <a:gd name="connsiteY15" fmla="*/ 582991 h 1523369"/>
              <a:gd name="connsiteX16" fmla="*/ 1550731 w 1550731"/>
              <a:gd name="connsiteY16" fmla="*/ 761202 h 152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50731" h="1523369">
                <a:moveTo>
                  <a:pt x="1550731" y="761202"/>
                </a:moveTo>
                <a:lnTo>
                  <a:pt x="1550684" y="761690"/>
                </a:lnTo>
                <a:lnTo>
                  <a:pt x="1550730" y="762168"/>
                </a:lnTo>
                <a:cubicBezTo>
                  <a:pt x="1550730" y="826667"/>
                  <a:pt x="1526124" y="891167"/>
                  <a:pt x="1476913" y="940378"/>
                </a:cubicBezTo>
                <a:lnTo>
                  <a:pt x="967739" y="1449552"/>
                </a:lnTo>
                <a:cubicBezTo>
                  <a:pt x="869316" y="1547975"/>
                  <a:pt x="709741" y="1547975"/>
                  <a:pt x="611318" y="1449552"/>
                </a:cubicBezTo>
                <a:cubicBezTo>
                  <a:pt x="512895" y="1351129"/>
                  <a:pt x="512895" y="1191553"/>
                  <a:pt x="611318" y="1093130"/>
                </a:cubicBezTo>
                <a:lnTo>
                  <a:pt x="687694" y="1016754"/>
                </a:lnTo>
                <a:lnTo>
                  <a:pt x="252028" y="1016754"/>
                </a:lnTo>
                <a:cubicBezTo>
                  <a:pt x="112837" y="1016754"/>
                  <a:pt x="0" y="903917"/>
                  <a:pt x="0" y="764726"/>
                </a:cubicBezTo>
                <a:cubicBezTo>
                  <a:pt x="0" y="625535"/>
                  <a:pt x="112837" y="512698"/>
                  <a:pt x="252028" y="512698"/>
                </a:cubicBezTo>
                <a:lnTo>
                  <a:pt x="693779" y="512698"/>
                </a:lnTo>
                <a:lnTo>
                  <a:pt x="611319" y="430238"/>
                </a:lnTo>
                <a:cubicBezTo>
                  <a:pt x="512896" y="331815"/>
                  <a:pt x="512896" y="172240"/>
                  <a:pt x="611319" y="73817"/>
                </a:cubicBezTo>
                <a:cubicBezTo>
                  <a:pt x="709742" y="-24606"/>
                  <a:pt x="869318" y="-24606"/>
                  <a:pt x="967741" y="73817"/>
                </a:cubicBezTo>
                <a:lnTo>
                  <a:pt x="1476914" y="582991"/>
                </a:lnTo>
                <a:cubicBezTo>
                  <a:pt x="1526125" y="632202"/>
                  <a:pt x="1550731" y="696702"/>
                  <a:pt x="1550731" y="761202"/>
                </a:cubicBezTo>
                <a:close/>
              </a:path>
            </a:pathLst>
          </a:custGeom>
          <a:solidFill>
            <a:srgbClr val="00000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6" name="矩形 16">
            <a:extLst>
              <a:ext uri="{FF2B5EF4-FFF2-40B4-BE49-F238E27FC236}">
                <a16:creationId xmlns:a16="http://schemas.microsoft.com/office/drawing/2014/main" id="{5C41466E-8520-9C2B-9AF6-574A8D006715}"/>
              </a:ext>
            </a:extLst>
          </p:cNvPr>
          <p:cNvSpPr/>
          <p:nvPr/>
        </p:nvSpPr>
        <p:spPr>
          <a:xfrm>
            <a:off x="7267102" y="2602002"/>
            <a:ext cx="31899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altLang="zh-CN" sz="1400" dirty="0">
                <a:latin typeface="+mj-lt"/>
              </a:rPr>
              <a:t>La transformación a nuevas tecnologías no es una opción, es una necesidad.</a:t>
            </a:r>
          </a:p>
        </p:txBody>
      </p:sp>
      <p:sp>
        <p:nvSpPr>
          <p:cNvPr id="47" name="矩形 18">
            <a:extLst>
              <a:ext uri="{FF2B5EF4-FFF2-40B4-BE49-F238E27FC236}">
                <a16:creationId xmlns:a16="http://schemas.microsoft.com/office/drawing/2014/main" id="{1A915E6C-A9B8-6B67-1D5C-8E94FB7687AD}"/>
              </a:ext>
            </a:extLst>
          </p:cNvPr>
          <p:cNvSpPr/>
          <p:nvPr/>
        </p:nvSpPr>
        <p:spPr>
          <a:xfrm>
            <a:off x="6388923" y="2678946"/>
            <a:ext cx="418704" cy="3693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altLang="zh-CN" b="1" dirty="0">
                <a:solidFill>
                  <a:srgbClr val="FFFFFF"/>
                </a:solidFill>
                <a:latin typeface="+mj-lt"/>
              </a:rPr>
              <a:t>01</a:t>
            </a:r>
            <a:endParaRPr lang="en-US" altLang="zh-CN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8" name="任意多边形 12">
            <a:extLst>
              <a:ext uri="{FF2B5EF4-FFF2-40B4-BE49-F238E27FC236}">
                <a16:creationId xmlns:a16="http://schemas.microsoft.com/office/drawing/2014/main" id="{245A907B-A9E2-79E3-6945-A963150C8155}"/>
              </a:ext>
            </a:extLst>
          </p:cNvPr>
          <p:cNvSpPr/>
          <p:nvPr/>
        </p:nvSpPr>
        <p:spPr>
          <a:xfrm rot="10800000">
            <a:off x="4975577" y="4062695"/>
            <a:ext cx="2240845" cy="2201305"/>
          </a:xfrm>
          <a:custGeom>
            <a:avLst/>
            <a:gdLst>
              <a:gd name="connsiteX0" fmla="*/ 1550731 w 1550731"/>
              <a:gd name="connsiteY0" fmla="*/ 761202 h 1523369"/>
              <a:gd name="connsiteX1" fmla="*/ 1550684 w 1550731"/>
              <a:gd name="connsiteY1" fmla="*/ 761690 h 1523369"/>
              <a:gd name="connsiteX2" fmla="*/ 1550730 w 1550731"/>
              <a:gd name="connsiteY2" fmla="*/ 762168 h 1523369"/>
              <a:gd name="connsiteX3" fmla="*/ 1476913 w 1550731"/>
              <a:gd name="connsiteY3" fmla="*/ 940378 h 1523369"/>
              <a:gd name="connsiteX4" fmla="*/ 967739 w 1550731"/>
              <a:gd name="connsiteY4" fmla="*/ 1449552 h 1523369"/>
              <a:gd name="connsiteX5" fmla="*/ 611318 w 1550731"/>
              <a:gd name="connsiteY5" fmla="*/ 1449552 h 1523369"/>
              <a:gd name="connsiteX6" fmla="*/ 611318 w 1550731"/>
              <a:gd name="connsiteY6" fmla="*/ 1093130 h 1523369"/>
              <a:gd name="connsiteX7" fmla="*/ 687694 w 1550731"/>
              <a:gd name="connsiteY7" fmla="*/ 1016754 h 1523369"/>
              <a:gd name="connsiteX8" fmla="*/ 252028 w 1550731"/>
              <a:gd name="connsiteY8" fmla="*/ 1016754 h 1523369"/>
              <a:gd name="connsiteX9" fmla="*/ 0 w 1550731"/>
              <a:gd name="connsiteY9" fmla="*/ 764726 h 1523369"/>
              <a:gd name="connsiteX10" fmla="*/ 252028 w 1550731"/>
              <a:gd name="connsiteY10" fmla="*/ 512698 h 1523369"/>
              <a:gd name="connsiteX11" fmla="*/ 693779 w 1550731"/>
              <a:gd name="connsiteY11" fmla="*/ 512698 h 1523369"/>
              <a:gd name="connsiteX12" fmla="*/ 611319 w 1550731"/>
              <a:gd name="connsiteY12" fmla="*/ 430238 h 1523369"/>
              <a:gd name="connsiteX13" fmla="*/ 611319 w 1550731"/>
              <a:gd name="connsiteY13" fmla="*/ 73817 h 1523369"/>
              <a:gd name="connsiteX14" fmla="*/ 967741 w 1550731"/>
              <a:gd name="connsiteY14" fmla="*/ 73817 h 1523369"/>
              <a:gd name="connsiteX15" fmla="*/ 1476914 w 1550731"/>
              <a:gd name="connsiteY15" fmla="*/ 582991 h 1523369"/>
              <a:gd name="connsiteX16" fmla="*/ 1550731 w 1550731"/>
              <a:gd name="connsiteY16" fmla="*/ 761202 h 152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50731" h="1523369">
                <a:moveTo>
                  <a:pt x="1550731" y="761202"/>
                </a:moveTo>
                <a:lnTo>
                  <a:pt x="1550684" y="761690"/>
                </a:lnTo>
                <a:lnTo>
                  <a:pt x="1550730" y="762168"/>
                </a:lnTo>
                <a:cubicBezTo>
                  <a:pt x="1550730" y="826667"/>
                  <a:pt x="1526124" y="891167"/>
                  <a:pt x="1476913" y="940378"/>
                </a:cubicBezTo>
                <a:lnTo>
                  <a:pt x="967739" y="1449552"/>
                </a:lnTo>
                <a:cubicBezTo>
                  <a:pt x="869316" y="1547975"/>
                  <a:pt x="709741" y="1547975"/>
                  <a:pt x="611318" y="1449552"/>
                </a:cubicBezTo>
                <a:cubicBezTo>
                  <a:pt x="512895" y="1351129"/>
                  <a:pt x="512895" y="1191553"/>
                  <a:pt x="611318" y="1093130"/>
                </a:cubicBezTo>
                <a:lnTo>
                  <a:pt x="687694" y="1016754"/>
                </a:lnTo>
                <a:lnTo>
                  <a:pt x="252028" y="1016754"/>
                </a:lnTo>
                <a:cubicBezTo>
                  <a:pt x="112837" y="1016754"/>
                  <a:pt x="0" y="903917"/>
                  <a:pt x="0" y="764726"/>
                </a:cubicBezTo>
                <a:cubicBezTo>
                  <a:pt x="0" y="625535"/>
                  <a:pt x="112837" y="512698"/>
                  <a:pt x="252028" y="512698"/>
                </a:cubicBezTo>
                <a:lnTo>
                  <a:pt x="693779" y="512698"/>
                </a:lnTo>
                <a:lnTo>
                  <a:pt x="611319" y="430238"/>
                </a:lnTo>
                <a:cubicBezTo>
                  <a:pt x="512896" y="331815"/>
                  <a:pt x="512896" y="172240"/>
                  <a:pt x="611319" y="73817"/>
                </a:cubicBezTo>
                <a:cubicBezTo>
                  <a:pt x="709742" y="-24606"/>
                  <a:pt x="869318" y="-24606"/>
                  <a:pt x="967741" y="73817"/>
                </a:cubicBezTo>
                <a:lnTo>
                  <a:pt x="1476914" y="582991"/>
                </a:lnTo>
                <a:cubicBezTo>
                  <a:pt x="1526125" y="632202"/>
                  <a:pt x="1550731" y="696702"/>
                  <a:pt x="1550731" y="761202"/>
                </a:cubicBezTo>
                <a:close/>
              </a:path>
            </a:pathLst>
          </a:custGeom>
          <a:solidFill>
            <a:srgbClr val="D0D0CE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矩形 14">
            <a:extLst>
              <a:ext uri="{FF2B5EF4-FFF2-40B4-BE49-F238E27FC236}">
                <a16:creationId xmlns:a16="http://schemas.microsoft.com/office/drawing/2014/main" id="{24B07C5C-26F5-D56E-756C-AF336D361E88}"/>
              </a:ext>
            </a:extLst>
          </p:cNvPr>
          <p:cNvSpPr/>
          <p:nvPr/>
        </p:nvSpPr>
        <p:spPr>
          <a:xfrm>
            <a:off x="6388924" y="4978681"/>
            <a:ext cx="418704" cy="3693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altLang="zh-CN" b="1" dirty="0">
                <a:latin typeface="+mj-lt"/>
              </a:rPr>
              <a:t>02</a:t>
            </a:r>
            <a:endParaRPr lang="en-US" altLang="zh-CN" sz="1200" b="1" dirty="0"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B7D7D9-4E8D-0AA2-D5B1-E77E64F93D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818239-C106-D522-604A-D5D6D4D65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clusion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B08E0-2F54-ECA8-E1C9-BF4F236934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70931" y="4573409"/>
            <a:ext cx="3516314" cy="1140324"/>
          </a:xfrm>
        </p:spPr>
        <p:txBody>
          <a:bodyPr/>
          <a:lstStyle/>
          <a:p>
            <a:r>
              <a:rPr lang="es-MX" sz="1400" dirty="0"/>
              <a:t>Adoptar estas tecnologías no solo mejora la eficiencia y la precisión, sino que también permite a los profesionales de la auditoría adaptarse a un entorno en constante evolución y brindar un mayor valor en sus resultados.</a:t>
            </a:r>
          </a:p>
          <a:p>
            <a:endParaRPr lang="en-US" sz="1400" dirty="0"/>
          </a:p>
        </p:txBody>
      </p:sp>
      <p:sp>
        <p:nvSpPr>
          <p:cNvPr id="51" name="矩形 16">
            <a:extLst>
              <a:ext uri="{FF2B5EF4-FFF2-40B4-BE49-F238E27FC236}">
                <a16:creationId xmlns:a16="http://schemas.microsoft.com/office/drawing/2014/main" id="{8060E4BA-319B-1AAF-A583-29FAD39D0D46}"/>
              </a:ext>
            </a:extLst>
          </p:cNvPr>
          <p:cNvSpPr/>
          <p:nvPr/>
        </p:nvSpPr>
        <p:spPr>
          <a:xfrm>
            <a:off x="3116531" y="3841809"/>
            <a:ext cx="31899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err="1">
                <a:solidFill>
                  <a:schemeClr val="bg1"/>
                </a:solidFill>
                <a:latin typeface="+mj-lt"/>
              </a:rPr>
              <a:t>Conclusiones</a:t>
            </a:r>
            <a:endParaRPr lang="en-US" altLang="zh-CN" dirty="0">
              <a:solidFill>
                <a:schemeClr val="bg1"/>
              </a:solidFill>
            </a:endParaRPr>
          </a:p>
        </p:txBody>
      </p:sp>
      <p:grpSp>
        <p:nvGrpSpPr>
          <p:cNvPr id="52" name="Graphic 4">
            <a:extLst>
              <a:ext uri="{FF2B5EF4-FFF2-40B4-BE49-F238E27FC236}">
                <a16:creationId xmlns:a16="http://schemas.microsoft.com/office/drawing/2014/main" id="{9FB5A0C0-B99D-FB61-E12A-7BA53DE8FFF5}"/>
              </a:ext>
            </a:extLst>
          </p:cNvPr>
          <p:cNvGrpSpPr/>
          <p:nvPr/>
        </p:nvGrpSpPr>
        <p:grpSpPr>
          <a:xfrm>
            <a:off x="1381410" y="3379310"/>
            <a:ext cx="1269520" cy="1268337"/>
            <a:chOff x="4046108" y="3824168"/>
            <a:chExt cx="361670" cy="361333"/>
          </a:xfrm>
          <a:solidFill>
            <a:srgbClr val="86BC25"/>
          </a:solidFill>
        </p:grpSpPr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1D4F976C-2359-FF66-3ACF-E8BD873EE7A9}"/>
                </a:ext>
              </a:extLst>
            </p:cNvPr>
            <p:cNvSpPr/>
            <p:nvPr/>
          </p:nvSpPr>
          <p:spPr>
            <a:xfrm>
              <a:off x="4126621" y="3928865"/>
              <a:ext cx="201283" cy="131510"/>
            </a:xfrm>
            <a:custGeom>
              <a:avLst/>
              <a:gdLst>
                <a:gd name="connsiteX0" fmla="*/ 187864 w 201283"/>
                <a:gd name="connsiteY0" fmla="*/ 17237 h 131510"/>
                <a:gd name="connsiteX1" fmla="*/ 187864 w 201283"/>
                <a:gd name="connsiteY1" fmla="*/ 17237 h 131510"/>
                <a:gd name="connsiteX2" fmla="*/ 187864 w 201283"/>
                <a:gd name="connsiteY2" fmla="*/ 17237 h 131510"/>
                <a:gd name="connsiteX3" fmla="*/ 187864 w 201283"/>
                <a:gd name="connsiteY3" fmla="*/ 18514 h 131510"/>
                <a:gd name="connsiteX4" fmla="*/ 182752 w 201283"/>
                <a:gd name="connsiteY4" fmla="*/ 31920 h 131510"/>
                <a:gd name="connsiteX5" fmla="*/ 174445 w 201283"/>
                <a:gd name="connsiteY5" fmla="*/ 35751 h 131510"/>
                <a:gd name="connsiteX6" fmla="*/ 170611 w 201283"/>
                <a:gd name="connsiteY6" fmla="*/ 30643 h 131510"/>
                <a:gd name="connsiteX7" fmla="*/ 118214 w 201283"/>
                <a:gd name="connsiteY7" fmla="*/ 62563 h 131510"/>
                <a:gd name="connsiteX8" fmla="*/ 111185 w 201283"/>
                <a:gd name="connsiteY8" fmla="*/ 61925 h 131510"/>
                <a:gd name="connsiteX9" fmla="*/ 90098 w 201283"/>
                <a:gd name="connsiteY9" fmla="*/ 45327 h 131510"/>
                <a:gd name="connsiteX10" fmla="*/ 17253 w 201283"/>
                <a:gd name="connsiteY10" fmla="*/ 81715 h 131510"/>
                <a:gd name="connsiteX11" fmla="*/ 14697 w 201283"/>
                <a:gd name="connsiteY11" fmla="*/ 82354 h 131510"/>
                <a:gd name="connsiteX12" fmla="*/ 8946 w 201283"/>
                <a:gd name="connsiteY12" fmla="*/ 78523 h 131510"/>
                <a:gd name="connsiteX13" fmla="*/ 11502 w 201283"/>
                <a:gd name="connsiteY13" fmla="*/ 70224 h 131510"/>
                <a:gd name="connsiteX14" fmla="*/ 87542 w 201283"/>
                <a:gd name="connsiteY14" fmla="*/ 31920 h 131510"/>
                <a:gd name="connsiteX15" fmla="*/ 94571 w 201283"/>
                <a:gd name="connsiteY15" fmla="*/ 32559 h 131510"/>
                <a:gd name="connsiteX16" fmla="*/ 115019 w 201283"/>
                <a:gd name="connsiteY16" fmla="*/ 48519 h 131510"/>
                <a:gd name="connsiteX17" fmla="*/ 162943 w 201283"/>
                <a:gd name="connsiteY17" fmla="*/ 19152 h 131510"/>
                <a:gd name="connsiteX18" fmla="*/ 160388 w 201283"/>
                <a:gd name="connsiteY18" fmla="*/ 13407 h 131510"/>
                <a:gd name="connsiteX19" fmla="*/ 167416 w 201283"/>
                <a:gd name="connsiteY19" fmla="*/ 7661 h 131510"/>
                <a:gd name="connsiteX20" fmla="*/ 182113 w 201283"/>
                <a:gd name="connsiteY20" fmla="*/ 8938 h 131510"/>
                <a:gd name="connsiteX21" fmla="*/ 182752 w 201283"/>
                <a:gd name="connsiteY21" fmla="*/ 8938 h 131510"/>
                <a:gd name="connsiteX22" fmla="*/ 182752 w 201283"/>
                <a:gd name="connsiteY22" fmla="*/ 8938 h 131510"/>
                <a:gd name="connsiteX23" fmla="*/ 182752 w 201283"/>
                <a:gd name="connsiteY23" fmla="*/ 8938 h 131510"/>
                <a:gd name="connsiteX24" fmla="*/ 183391 w 201283"/>
                <a:gd name="connsiteY24" fmla="*/ 8938 h 131510"/>
                <a:gd name="connsiteX25" fmla="*/ 183391 w 201283"/>
                <a:gd name="connsiteY25" fmla="*/ 8938 h 131510"/>
                <a:gd name="connsiteX26" fmla="*/ 187225 w 201283"/>
                <a:gd name="connsiteY26" fmla="*/ 11491 h 131510"/>
                <a:gd name="connsiteX27" fmla="*/ 187225 w 201283"/>
                <a:gd name="connsiteY27" fmla="*/ 11491 h 131510"/>
                <a:gd name="connsiteX28" fmla="*/ 187225 w 201283"/>
                <a:gd name="connsiteY28" fmla="*/ 11491 h 131510"/>
                <a:gd name="connsiteX29" fmla="*/ 187225 w 201283"/>
                <a:gd name="connsiteY29" fmla="*/ 11491 h 131510"/>
                <a:gd name="connsiteX30" fmla="*/ 187225 w 201283"/>
                <a:gd name="connsiteY30" fmla="*/ 11491 h 131510"/>
                <a:gd name="connsiteX31" fmla="*/ 187225 w 201283"/>
                <a:gd name="connsiteY31" fmla="*/ 11491 h 131510"/>
                <a:gd name="connsiteX32" fmla="*/ 187225 w 201283"/>
                <a:gd name="connsiteY32" fmla="*/ 11491 h 131510"/>
                <a:gd name="connsiteX33" fmla="*/ 187864 w 201283"/>
                <a:gd name="connsiteY33" fmla="*/ 17237 h 131510"/>
                <a:gd name="connsiteX34" fmla="*/ 177001 w 201283"/>
                <a:gd name="connsiteY34" fmla="*/ 115550 h 131510"/>
                <a:gd name="connsiteX35" fmla="*/ 170611 w 201283"/>
                <a:gd name="connsiteY35" fmla="*/ 121934 h 131510"/>
                <a:gd name="connsiteX36" fmla="*/ 164221 w 201283"/>
                <a:gd name="connsiteY36" fmla="*/ 115550 h 131510"/>
                <a:gd name="connsiteX37" fmla="*/ 164221 w 201283"/>
                <a:gd name="connsiteY37" fmla="*/ 52349 h 131510"/>
                <a:gd name="connsiteX38" fmla="*/ 170611 w 201283"/>
                <a:gd name="connsiteY38" fmla="*/ 45965 h 131510"/>
                <a:gd name="connsiteX39" fmla="*/ 177001 w 201283"/>
                <a:gd name="connsiteY39" fmla="*/ 52349 h 131510"/>
                <a:gd name="connsiteX40" fmla="*/ 177001 w 201283"/>
                <a:gd name="connsiteY40" fmla="*/ 115550 h 131510"/>
                <a:gd name="connsiteX41" fmla="*/ 148247 w 201283"/>
                <a:gd name="connsiteY41" fmla="*/ 115550 h 131510"/>
                <a:gd name="connsiteX42" fmla="*/ 141857 w 201283"/>
                <a:gd name="connsiteY42" fmla="*/ 121934 h 131510"/>
                <a:gd name="connsiteX43" fmla="*/ 135467 w 201283"/>
                <a:gd name="connsiteY43" fmla="*/ 115550 h 131510"/>
                <a:gd name="connsiteX44" fmla="*/ 135467 w 201283"/>
                <a:gd name="connsiteY44" fmla="*/ 66394 h 131510"/>
                <a:gd name="connsiteX45" fmla="*/ 141857 w 201283"/>
                <a:gd name="connsiteY45" fmla="*/ 60010 h 131510"/>
                <a:gd name="connsiteX46" fmla="*/ 148247 w 201283"/>
                <a:gd name="connsiteY46" fmla="*/ 66394 h 131510"/>
                <a:gd name="connsiteX47" fmla="*/ 148247 w 201283"/>
                <a:gd name="connsiteY47" fmla="*/ 115550 h 131510"/>
                <a:gd name="connsiteX48" fmla="*/ 119492 w 201283"/>
                <a:gd name="connsiteY48" fmla="*/ 115550 h 131510"/>
                <a:gd name="connsiteX49" fmla="*/ 113102 w 201283"/>
                <a:gd name="connsiteY49" fmla="*/ 121934 h 131510"/>
                <a:gd name="connsiteX50" fmla="*/ 106712 w 201283"/>
                <a:gd name="connsiteY50" fmla="*/ 115550 h 131510"/>
                <a:gd name="connsiteX51" fmla="*/ 106712 w 201283"/>
                <a:gd name="connsiteY51" fmla="*/ 80438 h 131510"/>
                <a:gd name="connsiteX52" fmla="*/ 113102 w 201283"/>
                <a:gd name="connsiteY52" fmla="*/ 74054 h 131510"/>
                <a:gd name="connsiteX53" fmla="*/ 119492 w 201283"/>
                <a:gd name="connsiteY53" fmla="*/ 80438 h 131510"/>
                <a:gd name="connsiteX54" fmla="*/ 119492 w 201283"/>
                <a:gd name="connsiteY54" fmla="*/ 115550 h 131510"/>
                <a:gd name="connsiteX55" fmla="*/ 91376 w 201283"/>
                <a:gd name="connsiteY55" fmla="*/ 115550 h 131510"/>
                <a:gd name="connsiteX56" fmla="*/ 84986 w 201283"/>
                <a:gd name="connsiteY56" fmla="*/ 121934 h 131510"/>
                <a:gd name="connsiteX57" fmla="*/ 78596 w 201283"/>
                <a:gd name="connsiteY57" fmla="*/ 115550 h 131510"/>
                <a:gd name="connsiteX58" fmla="*/ 78596 w 201283"/>
                <a:gd name="connsiteY58" fmla="*/ 67670 h 131510"/>
                <a:gd name="connsiteX59" fmla="*/ 84986 w 201283"/>
                <a:gd name="connsiteY59" fmla="*/ 61286 h 131510"/>
                <a:gd name="connsiteX60" fmla="*/ 91376 w 201283"/>
                <a:gd name="connsiteY60" fmla="*/ 67670 h 131510"/>
                <a:gd name="connsiteX61" fmla="*/ 91376 w 201283"/>
                <a:gd name="connsiteY61" fmla="*/ 115550 h 131510"/>
                <a:gd name="connsiteX62" fmla="*/ 62621 w 201283"/>
                <a:gd name="connsiteY62" fmla="*/ 115550 h 131510"/>
                <a:gd name="connsiteX63" fmla="*/ 56231 w 201283"/>
                <a:gd name="connsiteY63" fmla="*/ 121934 h 131510"/>
                <a:gd name="connsiteX64" fmla="*/ 49841 w 201283"/>
                <a:gd name="connsiteY64" fmla="*/ 115550 h 131510"/>
                <a:gd name="connsiteX65" fmla="*/ 49841 w 201283"/>
                <a:gd name="connsiteY65" fmla="*/ 84907 h 131510"/>
                <a:gd name="connsiteX66" fmla="*/ 56231 w 201283"/>
                <a:gd name="connsiteY66" fmla="*/ 78523 h 131510"/>
                <a:gd name="connsiteX67" fmla="*/ 62621 w 201283"/>
                <a:gd name="connsiteY67" fmla="*/ 84907 h 131510"/>
                <a:gd name="connsiteX68" fmla="*/ 62621 w 201283"/>
                <a:gd name="connsiteY68" fmla="*/ 115550 h 131510"/>
                <a:gd name="connsiteX69" fmla="*/ 33867 w 201283"/>
                <a:gd name="connsiteY69" fmla="*/ 113635 h 131510"/>
                <a:gd name="connsiteX70" fmla="*/ 27477 w 201283"/>
                <a:gd name="connsiteY70" fmla="*/ 120019 h 131510"/>
                <a:gd name="connsiteX71" fmla="*/ 21087 w 201283"/>
                <a:gd name="connsiteY71" fmla="*/ 113635 h 131510"/>
                <a:gd name="connsiteX72" fmla="*/ 21087 w 201283"/>
                <a:gd name="connsiteY72" fmla="*/ 93206 h 131510"/>
                <a:gd name="connsiteX73" fmla="*/ 27477 w 201283"/>
                <a:gd name="connsiteY73" fmla="*/ 86822 h 131510"/>
                <a:gd name="connsiteX74" fmla="*/ 33867 w 201283"/>
                <a:gd name="connsiteY74" fmla="*/ 93206 h 131510"/>
                <a:gd name="connsiteX75" fmla="*/ 33867 w 201283"/>
                <a:gd name="connsiteY75" fmla="*/ 113635 h 131510"/>
                <a:gd name="connsiteX76" fmla="*/ 185308 w 201283"/>
                <a:gd name="connsiteY76" fmla="*/ 0 h 131510"/>
                <a:gd name="connsiteX77" fmla="*/ 15975 w 201283"/>
                <a:gd name="connsiteY77" fmla="*/ 0 h 131510"/>
                <a:gd name="connsiteX78" fmla="*/ 0 w 201283"/>
                <a:gd name="connsiteY78" fmla="*/ 15960 h 131510"/>
                <a:gd name="connsiteX79" fmla="*/ 0 w 201283"/>
                <a:gd name="connsiteY79" fmla="*/ 115550 h 131510"/>
                <a:gd name="connsiteX80" fmla="*/ 15975 w 201283"/>
                <a:gd name="connsiteY80" fmla="*/ 131510 h 131510"/>
                <a:gd name="connsiteX81" fmla="*/ 185308 w 201283"/>
                <a:gd name="connsiteY81" fmla="*/ 131510 h 131510"/>
                <a:gd name="connsiteX82" fmla="*/ 201283 w 201283"/>
                <a:gd name="connsiteY82" fmla="*/ 115550 h 131510"/>
                <a:gd name="connsiteX83" fmla="*/ 201283 w 201283"/>
                <a:gd name="connsiteY83" fmla="*/ 15960 h 131510"/>
                <a:gd name="connsiteX84" fmla="*/ 185308 w 201283"/>
                <a:gd name="connsiteY84" fmla="*/ 0 h 13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01283" h="131510">
                  <a:moveTo>
                    <a:pt x="187864" y="17237"/>
                  </a:moveTo>
                  <a:cubicBezTo>
                    <a:pt x="187864" y="17237"/>
                    <a:pt x="187864" y="17875"/>
                    <a:pt x="187864" y="17237"/>
                  </a:cubicBezTo>
                  <a:cubicBezTo>
                    <a:pt x="187864" y="17875"/>
                    <a:pt x="187864" y="17875"/>
                    <a:pt x="187864" y="17237"/>
                  </a:cubicBezTo>
                  <a:cubicBezTo>
                    <a:pt x="187864" y="17875"/>
                    <a:pt x="187864" y="17875"/>
                    <a:pt x="187864" y="18514"/>
                  </a:cubicBezTo>
                  <a:lnTo>
                    <a:pt x="182752" y="31920"/>
                  </a:lnTo>
                  <a:cubicBezTo>
                    <a:pt x="181474" y="35112"/>
                    <a:pt x="177640" y="37027"/>
                    <a:pt x="174445" y="35751"/>
                  </a:cubicBezTo>
                  <a:cubicBezTo>
                    <a:pt x="171889" y="35112"/>
                    <a:pt x="170611" y="33197"/>
                    <a:pt x="170611" y="30643"/>
                  </a:cubicBezTo>
                  <a:lnTo>
                    <a:pt x="118214" y="62563"/>
                  </a:lnTo>
                  <a:cubicBezTo>
                    <a:pt x="115658" y="63840"/>
                    <a:pt x="113102" y="63840"/>
                    <a:pt x="111185" y="61925"/>
                  </a:cubicBezTo>
                  <a:lnTo>
                    <a:pt x="90098" y="45327"/>
                  </a:lnTo>
                  <a:lnTo>
                    <a:pt x="17253" y="81715"/>
                  </a:lnTo>
                  <a:cubicBezTo>
                    <a:pt x="16614" y="82354"/>
                    <a:pt x="15336" y="82354"/>
                    <a:pt x="14697" y="82354"/>
                  </a:cubicBezTo>
                  <a:cubicBezTo>
                    <a:pt x="12141" y="82354"/>
                    <a:pt x="10224" y="81077"/>
                    <a:pt x="8946" y="78523"/>
                  </a:cubicBezTo>
                  <a:cubicBezTo>
                    <a:pt x="7668" y="75331"/>
                    <a:pt x="8946" y="71501"/>
                    <a:pt x="11502" y="70224"/>
                  </a:cubicBezTo>
                  <a:lnTo>
                    <a:pt x="87542" y="31920"/>
                  </a:lnTo>
                  <a:cubicBezTo>
                    <a:pt x="89459" y="30643"/>
                    <a:pt x="92654" y="31282"/>
                    <a:pt x="94571" y="32559"/>
                  </a:cubicBezTo>
                  <a:lnTo>
                    <a:pt x="115019" y="48519"/>
                  </a:lnTo>
                  <a:lnTo>
                    <a:pt x="162943" y="19152"/>
                  </a:lnTo>
                  <a:cubicBezTo>
                    <a:pt x="161027" y="17875"/>
                    <a:pt x="159748" y="15322"/>
                    <a:pt x="160388" y="13407"/>
                  </a:cubicBezTo>
                  <a:cubicBezTo>
                    <a:pt x="161027" y="10215"/>
                    <a:pt x="163583" y="7661"/>
                    <a:pt x="167416" y="7661"/>
                  </a:cubicBezTo>
                  <a:lnTo>
                    <a:pt x="182113" y="8938"/>
                  </a:lnTo>
                  <a:cubicBezTo>
                    <a:pt x="182113" y="8938"/>
                    <a:pt x="182752" y="8938"/>
                    <a:pt x="182752" y="8938"/>
                  </a:cubicBezTo>
                  <a:cubicBezTo>
                    <a:pt x="182752" y="8938"/>
                    <a:pt x="182752" y="8938"/>
                    <a:pt x="182752" y="8938"/>
                  </a:cubicBezTo>
                  <a:lnTo>
                    <a:pt x="182752" y="8938"/>
                  </a:lnTo>
                  <a:cubicBezTo>
                    <a:pt x="182752" y="8938"/>
                    <a:pt x="183391" y="8938"/>
                    <a:pt x="183391" y="8938"/>
                  </a:cubicBezTo>
                  <a:cubicBezTo>
                    <a:pt x="183391" y="8938"/>
                    <a:pt x="183391" y="8938"/>
                    <a:pt x="183391" y="8938"/>
                  </a:cubicBezTo>
                  <a:cubicBezTo>
                    <a:pt x="184669" y="9576"/>
                    <a:pt x="185947" y="10215"/>
                    <a:pt x="187225" y="11491"/>
                  </a:cubicBezTo>
                  <a:lnTo>
                    <a:pt x="187225" y="11491"/>
                  </a:lnTo>
                  <a:cubicBezTo>
                    <a:pt x="187225" y="11491"/>
                    <a:pt x="187225" y="11491"/>
                    <a:pt x="187225" y="11491"/>
                  </a:cubicBezTo>
                  <a:cubicBezTo>
                    <a:pt x="187225" y="11491"/>
                    <a:pt x="187225" y="11491"/>
                    <a:pt x="187225" y="11491"/>
                  </a:cubicBezTo>
                  <a:lnTo>
                    <a:pt x="187225" y="11491"/>
                  </a:lnTo>
                  <a:lnTo>
                    <a:pt x="187225" y="11491"/>
                  </a:lnTo>
                  <a:cubicBezTo>
                    <a:pt x="187225" y="11491"/>
                    <a:pt x="187225" y="11491"/>
                    <a:pt x="187225" y="11491"/>
                  </a:cubicBezTo>
                  <a:cubicBezTo>
                    <a:pt x="187864" y="14045"/>
                    <a:pt x="188503" y="15960"/>
                    <a:pt x="187864" y="17237"/>
                  </a:cubicBezTo>
                  <a:moveTo>
                    <a:pt x="177001" y="115550"/>
                  </a:moveTo>
                  <a:cubicBezTo>
                    <a:pt x="177001" y="119381"/>
                    <a:pt x="174445" y="121934"/>
                    <a:pt x="170611" y="121934"/>
                  </a:cubicBezTo>
                  <a:cubicBezTo>
                    <a:pt x="166778" y="121934"/>
                    <a:pt x="164221" y="119381"/>
                    <a:pt x="164221" y="115550"/>
                  </a:cubicBezTo>
                  <a:lnTo>
                    <a:pt x="164221" y="52349"/>
                  </a:lnTo>
                  <a:cubicBezTo>
                    <a:pt x="164221" y="48519"/>
                    <a:pt x="166778" y="45965"/>
                    <a:pt x="170611" y="45965"/>
                  </a:cubicBezTo>
                  <a:cubicBezTo>
                    <a:pt x="174445" y="45965"/>
                    <a:pt x="177001" y="48519"/>
                    <a:pt x="177001" y="52349"/>
                  </a:cubicBezTo>
                  <a:lnTo>
                    <a:pt x="177001" y="115550"/>
                  </a:lnTo>
                  <a:close/>
                  <a:moveTo>
                    <a:pt x="148247" y="115550"/>
                  </a:moveTo>
                  <a:cubicBezTo>
                    <a:pt x="148247" y="119381"/>
                    <a:pt x="145690" y="121934"/>
                    <a:pt x="141857" y="121934"/>
                  </a:cubicBezTo>
                  <a:cubicBezTo>
                    <a:pt x="138023" y="121934"/>
                    <a:pt x="135467" y="119381"/>
                    <a:pt x="135467" y="115550"/>
                  </a:cubicBezTo>
                  <a:lnTo>
                    <a:pt x="135467" y="66394"/>
                  </a:lnTo>
                  <a:cubicBezTo>
                    <a:pt x="135467" y="62563"/>
                    <a:pt x="138023" y="60010"/>
                    <a:pt x="141857" y="60010"/>
                  </a:cubicBezTo>
                  <a:cubicBezTo>
                    <a:pt x="145690" y="60010"/>
                    <a:pt x="148247" y="62563"/>
                    <a:pt x="148247" y="66394"/>
                  </a:cubicBezTo>
                  <a:lnTo>
                    <a:pt x="148247" y="115550"/>
                  </a:lnTo>
                  <a:close/>
                  <a:moveTo>
                    <a:pt x="119492" y="115550"/>
                  </a:moveTo>
                  <a:cubicBezTo>
                    <a:pt x="119492" y="119381"/>
                    <a:pt x="116936" y="121934"/>
                    <a:pt x="113102" y="121934"/>
                  </a:cubicBezTo>
                  <a:cubicBezTo>
                    <a:pt x="109268" y="121934"/>
                    <a:pt x="106712" y="119381"/>
                    <a:pt x="106712" y="115550"/>
                  </a:cubicBezTo>
                  <a:lnTo>
                    <a:pt x="106712" y="80438"/>
                  </a:lnTo>
                  <a:cubicBezTo>
                    <a:pt x="106712" y="76608"/>
                    <a:pt x="109268" y="74054"/>
                    <a:pt x="113102" y="74054"/>
                  </a:cubicBezTo>
                  <a:cubicBezTo>
                    <a:pt x="116936" y="74054"/>
                    <a:pt x="119492" y="76608"/>
                    <a:pt x="119492" y="80438"/>
                  </a:cubicBezTo>
                  <a:lnTo>
                    <a:pt x="119492" y="115550"/>
                  </a:lnTo>
                  <a:close/>
                  <a:moveTo>
                    <a:pt x="91376" y="115550"/>
                  </a:moveTo>
                  <a:cubicBezTo>
                    <a:pt x="91376" y="119381"/>
                    <a:pt x="88820" y="121934"/>
                    <a:pt x="84986" y="121934"/>
                  </a:cubicBezTo>
                  <a:cubicBezTo>
                    <a:pt x="81152" y="121934"/>
                    <a:pt x="78596" y="119381"/>
                    <a:pt x="78596" y="115550"/>
                  </a:cubicBezTo>
                  <a:lnTo>
                    <a:pt x="78596" y="67670"/>
                  </a:lnTo>
                  <a:cubicBezTo>
                    <a:pt x="78596" y="63840"/>
                    <a:pt x="81152" y="61286"/>
                    <a:pt x="84986" y="61286"/>
                  </a:cubicBezTo>
                  <a:cubicBezTo>
                    <a:pt x="88820" y="61286"/>
                    <a:pt x="91376" y="63840"/>
                    <a:pt x="91376" y="67670"/>
                  </a:cubicBezTo>
                  <a:lnTo>
                    <a:pt x="91376" y="115550"/>
                  </a:lnTo>
                  <a:close/>
                  <a:moveTo>
                    <a:pt x="62621" y="115550"/>
                  </a:moveTo>
                  <a:cubicBezTo>
                    <a:pt x="62621" y="119381"/>
                    <a:pt x="60066" y="121934"/>
                    <a:pt x="56231" y="121934"/>
                  </a:cubicBezTo>
                  <a:cubicBezTo>
                    <a:pt x="52398" y="121934"/>
                    <a:pt x="49841" y="119381"/>
                    <a:pt x="49841" y="115550"/>
                  </a:cubicBezTo>
                  <a:lnTo>
                    <a:pt x="49841" y="84907"/>
                  </a:lnTo>
                  <a:cubicBezTo>
                    <a:pt x="49841" y="81077"/>
                    <a:pt x="52398" y="78523"/>
                    <a:pt x="56231" y="78523"/>
                  </a:cubicBezTo>
                  <a:cubicBezTo>
                    <a:pt x="60066" y="78523"/>
                    <a:pt x="62621" y="81077"/>
                    <a:pt x="62621" y="84907"/>
                  </a:cubicBezTo>
                  <a:lnTo>
                    <a:pt x="62621" y="115550"/>
                  </a:lnTo>
                  <a:close/>
                  <a:moveTo>
                    <a:pt x="33867" y="113635"/>
                  </a:moveTo>
                  <a:cubicBezTo>
                    <a:pt x="33867" y="117465"/>
                    <a:pt x="31311" y="120019"/>
                    <a:pt x="27477" y="120019"/>
                  </a:cubicBezTo>
                  <a:cubicBezTo>
                    <a:pt x="23643" y="120019"/>
                    <a:pt x="21087" y="117465"/>
                    <a:pt x="21087" y="113635"/>
                  </a:cubicBezTo>
                  <a:lnTo>
                    <a:pt x="21087" y="93206"/>
                  </a:lnTo>
                  <a:cubicBezTo>
                    <a:pt x="21087" y="89376"/>
                    <a:pt x="23643" y="86822"/>
                    <a:pt x="27477" y="86822"/>
                  </a:cubicBezTo>
                  <a:cubicBezTo>
                    <a:pt x="31311" y="86822"/>
                    <a:pt x="33867" y="89376"/>
                    <a:pt x="33867" y="93206"/>
                  </a:cubicBezTo>
                  <a:lnTo>
                    <a:pt x="33867" y="113635"/>
                  </a:lnTo>
                  <a:close/>
                  <a:moveTo>
                    <a:pt x="185308" y="0"/>
                  </a:moveTo>
                  <a:lnTo>
                    <a:pt x="15975" y="0"/>
                  </a:lnTo>
                  <a:cubicBezTo>
                    <a:pt x="7029" y="0"/>
                    <a:pt x="0" y="7023"/>
                    <a:pt x="0" y="15960"/>
                  </a:cubicBezTo>
                  <a:lnTo>
                    <a:pt x="0" y="115550"/>
                  </a:lnTo>
                  <a:cubicBezTo>
                    <a:pt x="0" y="124488"/>
                    <a:pt x="7029" y="131510"/>
                    <a:pt x="15975" y="131510"/>
                  </a:cubicBezTo>
                  <a:lnTo>
                    <a:pt x="185308" y="131510"/>
                  </a:lnTo>
                  <a:cubicBezTo>
                    <a:pt x="194254" y="131510"/>
                    <a:pt x="201283" y="124488"/>
                    <a:pt x="201283" y="115550"/>
                  </a:cubicBezTo>
                  <a:lnTo>
                    <a:pt x="201283" y="15960"/>
                  </a:lnTo>
                  <a:cubicBezTo>
                    <a:pt x="200644" y="7023"/>
                    <a:pt x="193615" y="0"/>
                    <a:pt x="185308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327876C5-FE0C-DDB8-8669-8DAF7D997ACE}"/>
                </a:ext>
              </a:extLst>
            </p:cNvPr>
            <p:cNvSpPr/>
            <p:nvPr/>
          </p:nvSpPr>
          <p:spPr>
            <a:xfrm>
              <a:off x="4046108" y="3824168"/>
              <a:ext cx="361670" cy="361333"/>
            </a:xfrm>
            <a:custGeom>
              <a:avLst/>
              <a:gdLst>
                <a:gd name="connsiteX0" fmla="*/ 293937 w 361670"/>
                <a:gd name="connsiteY0" fmla="*/ 219609 h 361333"/>
                <a:gd name="connsiteX1" fmla="*/ 265182 w 361670"/>
                <a:gd name="connsiteY1" fmla="*/ 248337 h 361333"/>
                <a:gd name="connsiteX2" fmla="*/ 95849 w 361670"/>
                <a:gd name="connsiteY2" fmla="*/ 248337 h 361333"/>
                <a:gd name="connsiteX3" fmla="*/ 67094 w 361670"/>
                <a:gd name="connsiteY3" fmla="*/ 219609 h 361333"/>
                <a:gd name="connsiteX4" fmla="*/ 67094 w 361670"/>
                <a:gd name="connsiteY4" fmla="*/ 120019 h 361333"/>
                <a:gd name="connsiteX5" fmla="*/ 95849 w 361670"/>
                <a:gd name="connsiteY5" fmla="*/ 91291 h 361333"/>
                <a:gd name="connsiteX6" fmla="*/ 265182 w 361670"/>
                <a:gd name="connsiteY6" fmla="*/ 91291 h 361333"/>
                <a:gd name="connsiteX7" fmla="*/ 293937 w 361670"/>
                <a:gd name="connsiteY7" fmla="*/ 120019 h 361333"/>
                <a:gd name="connsiteX8" fmla="*/ 293937 w 361670"/>
                <a:gd name="connsiteY8" fmla="*/ 219609 h 361333"/>
                <a:gd name="connsiteX9" fmla="*/ 253681 w 361670"/>
                <a:gd name="connsiteY9" fmla="*/ 270042 h 361333"/>
                <a:gd name="connsiteX10" fmla="*/ 107351 w 361670"/>
                <a:gd name="connsiteY10" fmla="*/ 270042 h 361333"/>
                <a:gd name="connsiteX11" fmla="*/ 100961 w 361670"/>
                <a:gd name="connsiteY11" fmla="*/ 263658 h 361333"/>
                <a:gd name="connsiteX12" fmla="*/ 107351 w 361670"/>
                <a:gd name="connsiteY12" fmla="*/ 257274 h 361333"/>
                <a:gd name="connsiteX13" fmla="*/ 253681 w 361670"/>
                <a:gd name="connsiteY13" fmla="*/ 257274 h 361333"/>
                <a:gd name="connsiteX14" fmla="*/ 260071 w 361670"/>
                <a:gd name="connsiteY14" fmla="*/ 263658 h 361333"/>
                <a:gd name="connsiteX15" fmla="*/ 253681 w 361670"/>
                <a:gd name="connsiteY15" fmla="*/ 270042 h 361333"/>
                <a:gd name="connsiteX16" fmla="*/ 180835 w 361670"/>
                <a:gd name="connsiteY16" fmla="*/ 0 h 361333"/>
                <a:gd name="connsiteX17" fmla="*/ 0 w 361670"/>
                <a:gd name="connsiteY17" fmla="*/ 180667 h 361333"/>
                <a:gd name="connsiteX18" fmla="*/ 180835 w 361670"/>
                <a:gd name="connsiteY18" fmla="*/ 361333 h 361333"/>
                <a:gd name="connsiteX19" fmla="*/ 361670 w 361670"/>
                <a:gd name="connsiteY19" fmla="*/ 180667 h 361333"/>
                <a:gd name="connsiteX20" fmla="*/ 180835 w 361670"/>
                <a:gd name="connsiteY20" fmla="*/ 0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1670" h="361333">
                  <a:moveTo>
                    <a:pt x="293937" y="219609"/>
                  </a:moveTo>
                  <a:cubicBezTo>
                    <a:pt x="293937" y="235569"/>
                    <a:pt x="281157" y="248337"/>
                    <a:pt x="265182" y="248337"/>
                  </a:cubicBezTo>
                  <a:lnTo>
                    <a:pt x="95849" y="248337"/>
                  </a:lnTo>
                  <a:cubicBezTo>
                    <a:pt x="79874" y="248337"/>
                    <a:pt x="67094" y="235569"/>
                    <a:pt x="67094" y="219609"/>
                  </a:cubicBezTo>
                  <a:lnTo>
                    <a:pt x="67094" y="120019"/>
                  </a:lnTo>
                  <a:cubicBezTo>
                    <a:pt x="67094" y="104059"/>
                    <a:pt x="79874" y="91291"/>
                    <a:pt x="95849" y="91291"/>
                  </a:cubicBezTo>
                  <a:lnTo>
                    <a:pt x="265182" y="91291"/>
                  </a:lnTo>
                  <a:cubicBezTo>
                    <a:pt x="281157" y="91291"/>
                    <a:pt x="293937" y="104059"/>
                    <a:pt x="293937" y="120019"/>
                  </a:cubicBezTo>
                  <a:lnTo>
                    <a:pt x="293937" y="219609"/>
                  </a:lnTo>
                  <a:close/>
                  <a:moveTo>
                    <a:pt x="253681" y="270042"/>
                  </a:moveTo>
                  <a:lnTo>
                    <a:pt x="107351" y="270042"/>
                  </a:lnTo>
                  <a:cubicBezTo>
                    <a:pt x="103517" y="270042"/>
                    <a:pt x="100961" y="267489"/>
                    <a:pt x="100961" y="263658"/>
                  </a:cubicBezTo>
                  <a:cubicBezTo>
                    <a:pt x="100961" y="259828"/>
                    <a:pt x="103517" y="257274"/>
                    <a:pt x="107351" y="257274"/>
                  </a:cubicBezTo>
                  <a:lnTo>
                    <a:pt x="253681" y="257274"/>
                  </a:lnTo>
                  <a:cubicBezTo>
                    <a:pt x="257514" y="257274"/>
                    <a:pt x="260071" y="259828"/>
                    <a:pt x="260071" y="263658"/>
                  </a:cubicBezTo>
                  <a:cubicBezTo>
                    <a:pt x="260071" y="266850"/>
                    <a:pt x="257514" y="270042"/>
                    <a:pt x="253681" y="270042"/>
                  </a:cubicBezTo>
                  <a:moveTo>
                    <a:pt x="180835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6"/>
                    <a:pt x="280518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1852268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DDCA27-5CF7-E742-067E-2D8DDD2791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D9FE0E-383C-057F-EBC5-6A329FD6E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Contacto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664489-2BE3-9CF3-1A11-A149DF193C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87383" y="1734820"/>
            <a:ext cx="7762199" cy="4269740"/>
          </a:xfrm>
        </p:spPr>
        <p:txBody>
          <a:bodyPr/>
          <a:lstStyle/>
          <a:p>
            <a:r>
              <a:rPr lang="it-IT" b="1" dirty="0"/>
              <a:t>Sandra Villabona</a:t>
            </a:r>
          </a:p>
          <a:p>
            <a:r>
              <a:rPr lang="it-IT" b="1" dirty="0"/>
              <a:t>Socia de Assurance </a:t>
            </a:r>
          </a:p>
          <a:p>
            <a:r>
              <a:rPr lang="it-IT" dirty="0"/>
              <a:t>Marketplace Región Andina</a:t>
            </a:r>
          </a:p>
          <a:p>
            <a:r>
              <a:rPr lang="it-IT" dirty="0"/>
              <a:t>Deloitte Spanish Latin America</a:t>
            </a:r>
          </a:p>
          <a:p>
            <a:r>
              <a:rPr lang="it-IT" dirty="0"/>
              <a:t>+57 (601) 426 2424 | +57 (301) 241 4057</a:t>
            </a:r>
          </a:p>
          <a:p>
            <a:r>
              <a:rPr lang="it-IT" dirty="0">
                <a:hlinkClick r:id="rId2"/>
              </a:rPr>
              <a:t>svillabona@deloitte.com</a:t>
            </a:r>
            <a:endParaRPr lang="it-IT" dirty="0"/>
          </a:p>
          <a:p>
            <a:endParaRPr lang="it-IT" b="1" dirty="0"/>
          </a:p>
          <a:p>
            <a:r>
              <a:rPr lang="it-IT" b="1" dirty="0"/>
              <a:t>www.deloitte.com/co</a:t>
            </a:r>
          </a:p>
          <a:p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29685EC-68BE-D52A-018C-95F448C2859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442417" y="1734820"/>
            <a:ext cx="3285945" cy="1848345"/>
          </a:xfrm>
        </p:spPr>
      </p:pic>
    </p:spTree>
    <p:extLst>
      <p:ext uri="{BB962C8B-B14F-4D97-AF65-F5344CB8AC3E}">
        <p14:creationId xmlns:p14="http://schemas.microsoft.com/office/powerpoint/2010/main" val="97040045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es-CO" dirty="0"/>
              <a:t>Deloitte se refiere a Deloitte Touche Tohmatsu Limited, sociedad privada de responsabilidad limitada en el Reino Unido, a su red de firmas miembro y sus entidades relacionadas, cada una de ellas como una entidad legal única e independiente. </a:t>
            </a:r>
            <a:r>
              <a:rPr kumimoji="0" lang="es-CO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PMingLiU" panose="02020500000000000000" pitchFamily="18" charset="-120"/>
                <a:cs typeface="Times New Roman" panose="02020603050405020304" pitchFamily="18" charset="0"/>
              </a:rPr>
              <a:t>Consulte </a:t>
            </a:r>
            <a:r>
              <a:rPr kumimoji="0" lang="es-MX" sz="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PMingLiU" panose="02020500000000000000" pitchFamily="18" charset="-120"/>
                <a:cs typeface="Times New Roman" panose="02020603050405020304" pitchFamily="18" charset="0"/>
                <a:hlinkClick r:id="rId3"/>
              </a:rPr>
              <a:t>www.deloitte.com/co/conozcanos</a:t>
            </a:r>
            <a:r>
              <a:rPr kumimoji="0" lang="es-MX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PMingLiU" panose="02020500000000000000" pitchFamily="18" charset="-120"/>
                <a:cs typeface="Times New Roman" panose="02020603050405020304" pitchFamily="18" charset="0"/>
              </a:rPr>
              <a:t> </a:t>
            </a:r>
            <a:r>
              <a:rPr kumimoji="0" lang="es-CO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PMingLiU" panose="02020500000000000000" pitchFamily="18" charset="-120"/>
                <a:cs typeface="Times New Roman" panose="02020603050405020304" pitchFamily="18" charset="0"/>
              </a:rPr>
              <a:t>para obtener </a:t>
            </a:r>
            <a:r>
              <a:rPr lang="es-CO" dirty="0"/>
              <a:t>más información sobre nuestra red global de firmas miembro.</a:t>
            </a:r>
          </a:p>
          <a:p>
            <a:r>
              <a:rPr lang="es-CO" dirty="0"/>
              <a:t>Deloitte presta servicios profesionales de auditoría y assurance, consultoría, asesoría financiera, asesoría en riesgos, impuestos y servicios legales, relacionados con nuestros clientes públicos y privados de diversas industrias. Con una red global de firmas miembro en más de 150 países, Deloitte brinda capacidades de clase mundial y servicio de alta calidad a sus clientes, aportando la experiencia necesaria para hacer frente a los retos más complejos de los negocios. Los más de 415,000 profesionales de Deloitte están comprometidos a lograr impactos significativos.</a:t>
            </a:r>
          </a:p>
          <a:p>
            <a:r>
              <a:rPr lang="es-CO" dirty="0"/>
              <a:t>Tal y como se usa en este documento, Deloitte &amp; Touche S.A.S., Deloitte Asesores y Consultores S.A.S., D Contadores S.A.S., Deloitte S.A.S. y D Profesionales S.A.S., las cuales tienen el derecho legal exclusivo de involucrarse en, y limitan sus negocios a, la prestación de servicios de auditoría, consultoría, consultoría fiscal, asesoría legal, en riesgos y financiera respectivamente, así como otros servicios profesionales bajo el nombre de “Deloitte”.</a:t>
            </a:r>
          </a:p>
          <a:p>
            <a:r>
              <a:rPr lang="es-CO" dirty="0"/>
              <a:t>Esta presentación contiene solamente información general y Deloitte no está, por medio de este documento, prestando asesoramiento o servicios contables, comerciales, financieros, de inversión, legales, fiscales u otros.</a:t>
            </a:r>
          </a:p>
          <a:p>
            <a:r>
              <a:rPr lang="es-CO" dirty="0"/>
              <a:t>Esta presentación no sustituye dichos consejos o servicios profesionales, ni debe usarse como base para cualquier decisión o acción que pueda afectar su negocio. Antes de tomar cualquier decisión o tomar cualquier medida que pueda afectar su negocio, debe consultar a un asesor profesional calificado. No se proporciona ninguna representación, garantía o promesa (ni explícito ni implícito) sobre la veracidad ni la integridad de la información en esta comunicación y Deloitte no será responsable de ninguna pérdida sufrida por cualquier persona que confíe en esta presentación.</a:t>
            </a:r>
          </a:p>
          <a:p>
            <a:r>
              <a:rPr lang="es-CO" dirty="0"/>
              <a:t>©2023 Deloitte &amp; Touche S.A.S., Deloitte Asesores y Consultores S.A.S., D Contadores S.A.S., Deloitte S.A.S. y D Profesionales S.A.S., según el servicio que presta cada una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5CBA852-46FB-F437-5C14-E8FEF028DE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F6CF24-C539-4B4F-DA10-48BE3E5434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8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aphic 4">
            <a:extLst>
              <a:ext uri="{FF2B5EF4-FFF2-40B4-BE49-F238E27FC236}">
                <a16:creationId xmlns:a16="http://schemas.microsoft.com/office/drawing/2014/main" id="{7DD1FAEE-6C8F-2BA4-6D49-DFFB1D5CD438}"/>
              </a:ext>
            </a:extLst>
          </p:cNvPr>
          <p:cNvGrpSpPr/>
          <p:nvPr/>
        </p:nvGrpSpPr>
        <p:grpSpPr>
          <a:xfrm>
            <a:off x="1117774" y="3623088"/>
            <a:ext cx="549152" cy="548640"/>
            <a:chOff x="8239823" y="2855717"/>
            <a:chExt cx="362309" cy="361971"/>
          </a:xfrm>
          <a:solidFill>
            <a:schemeClr val="tx1"/>
          </a:solidFill>
        </p:grpSpPr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D6D59EFC-00D7-C8A8-9E57-C9F064063E22}"/>
                </a:ext>
              </a:extLst>
            </p:cNvPr>
            <p:cNvSpPr/>
            <p:nvPr/>
          </p:nvSpPr>
          <p:spPr>
            <a:xfrm>
              <a:off x="8317780" y="2992973"/>
              <a:ext cx="9584" cy="28727"/>
            </a:xfrm>
            <a:custGeom>
              <a:avLst/>
              <a:gdLst>
                <a:gd name="connsiteX0" fmla="*/ 0 w 9584"/>
                <a:gd name="connsiteY0" fmla="*/ 14045 h 28727"/>
                <a:gd name="connsiteX1" fmla="*/ 9585 w 9584"/>
                <a:gd name="connsiteY1" fmla="*/ 28728 h 28727"/>
                <a:gd name="connsiteX2" fmla="*/ 9585 w 9584"/>
                <a:gd name="connsiteY2" fmla="*/ 0 h 28727"/>
                <a:gd name="connsiteX3" fmla="*/ 0 w 9584"/>
                <a:gd name="connsiteY3" fmla="*/ 14045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84" h="28727">
                  <a:moveTo>
                    <a:pt x="0" y="14045"/>
                  </a:moveTo>
                  <a:cubicBezTo>
                    <a:pt x="0" y="20429"/>
                    <a:pt x="3835" y="26174"/>
                    <a:pt x="9585" y="28728"/>
                  </a:cubicBezTo>
                  <a:lnTo>
                    <a:pt x="9585" y="0"/>
                  </a:lnTo>
                  <a:cubicBezTo>
                    <a:pt x="3835" y="1915"/>
                    <a:pt x="0" y="7661"/>
                    <a:pt x="0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CDD08814-5A10-D140-D4BA-5E0D8C3185FF}"/>
                </a:ext>
              </a:extLst>
            </p:cNvPr>
            <p:cNvSpPr/>
            <p:nvPr/>
          </p:nvSpPr>
          <p:spPr>
            <a:xfrm>
              <a:off x="8450004" y="2982072"/>
              <a:ext cx="25017" cy="24946"/>
            </a:xfrm>
            <a:custGeom>
              <a:avLst/>
              <a:gdLst>
                <a:gd name="connsiteX0" fmla="*/ 12828 w 25017"/>
                <a:gd name="connsiteY0" fmla="*/ 24946 h 24946"/>
                <a:gd name="connsiteX1" fmla="*/ 24969 w 25017"/>
                <a:gd name="connsiteY1" fmla="*/ 12178 h 24946"/>
                <a:gd name="connsiteX2" fmla="*/ 12190 w 25017"/>
                <a:gd name="connsiteY2" fmla="*/ 49 h 24946"/>
                <a:gd name="connsiteX3" fmla="*/ 48 w 25017"/>
                <a:gd name="connsiteY3" fmla="*/ 12817 h 24946"/>
                <a:gd name="connsiteX4" fmla="*/ 12828 w 25017"/>
                <a:gd name="connsiteY4" fmla="*/ 24946 h 24946"/>
                <a:gd name="connsiteX5" fmla="*/ 12828 w 25017"/>
                <a:gd name="connsiteY5" fmla="*/ 24946 h 2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17" h="24946">
                  <a:moveTo>
                    <a:pt x="12828" y="24946"/>
                  </a:moveTo>
                  <a:cubicBezTo>
                    <a:pt x="19857" y="24946"/>
                    <a:pt x="25608" y="19200"/>
                    <a:pt x="24969" y="12178"/>
                  </a:cubicBezTo>
                  <a:cubicBezTo>
                    <a:pt x="24969" y="5156"/>
                    <a:pt x="19218" y="-590"/>
                    <a:pt x="12190" y="49"/>
                  </a:cubicBezTo>
                  <a:cubicBezTo>
                    <a:pt x="5160" y="49"/>
                    <a:pt x="48" y="5794"/>
                    <a:pt x="48" y="12817"/>
                  </a:cubicBezTo>
                  <a:cubicBezTo>
                    <a:pt x="-590" y="19200"/>
                    <a:pt x="5160" y="24946"/>
                    <a:pt x="12828" y="24946"/>
                  </a:cubicBezTo>
                  <a:cubicBezTo>
                    <a:pt x="12828" y="24946"/>
                    <a:pt x="12828" y="24946"/>
                    <a:pt x="12828" y="2494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57769F82-CC92-0A5A-18FD-B39791B887F3}"/>
                </a:ext>
              </a:extLst>
            </p:cNvPr>
            <p:cNvSpPr/>
            <p:nvPr/>
          </p:nvSpPr>
          <p:spPr>
            <a:xfrm>
              <a:off x="8366344" y="2981482"/>
              <a:ext cx="25559" cy="25535"/>
            </a:xfrm>
            <a:custGeom>
              <a:avLst/>
              <a:gdLst>
                <a:gd name="connsiteX0" fmla="*/ 12780 w 25559"/>
                <a:gd name="connsiteY0" fmla="*/ 25536 h 25535"/>
                <a:gd name="connsiteX1" fmla="*/ 25560 w 25559"/>
                <a:gd name="connsiteY1" fmla="*/ 12768 h 25535"/>
                <a:gd name="connsiteX2" fmla="*/ 12780 w 25559"/>
                <a:gd name="connsiteY2" fmla="*/ 0 h 25535"/>
                <a:gd name="connsiteX3" fmla="*/ 0 w 25559"/>
                <a:gd name="connsiteY3" fmla="*/ 12768 h 25535"/>
                <a:gd name="connsiteX4" fmla="*/ 12780 w 25559"/>
                <a:gd name="connsiteY4" fmla="*/ 25536 h 2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59" h="25535">
                  <a:moveTo>
                    <a:pt x="12780" y="25536"/>
                  </a:moveTo>
                  <a:cubicBezTo>
                    <a:pt x="19809" y="25536"/>
                    <a:pt x="25560" y="19790"/>
                    <a:pt x="25560" y="12768"/>
                  </a:cubicBezTo>
                  <a:cubicBezTo>
                    <a:pt x="25560" y="5746"/>
                    <a:pt x="19809" y="0"/>
                    <a:pt x="12780" y="0"/>
                  </a:cubicBezTo>
                  <a:cubicBezTo>
                    <a:pt x="5750" y="0"/>
                    <a:pt x="0" y="5746"/>
                    <a:pt x="0" y="12768"/>
                  </a:cubicBezTo>
                  <a:cubicBezTo>
                    <a:pt x="0" y="19790"/>
                    <a:pt x="5750" y="25536"/>
                    <a:pt x="12780" y="2553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941128ED-C0EC-E330-7793-A2AD4D1E42B8}"/>
                </a:ext>
              </a:extLst>
            </p:cNvPr>
            <p:cNvSpPr/>
            <p:nvPr/>
          </p:nvSpPr>
          <p:spPr>
            <a:xfrm>
              <a:off x="8340145" y="2952115"/>
              <a:ext cx="162304" cy="103420"/>
            </a:xfrm>
            <a:custGeom>
              <a:avLst/>
              <a:gdLst>
                <a:gd name="connsiteX0" fmla="*/ 0 w 162304"/>
                <a:gd name="connsiteY0" fmla="*/ 103421 h 103420"/>
                <a:gd name="connsiteX1" fmla="*/ 162305 w 162304"/>
                <a:gd name="connsiteY1" fmla="*/ 103421 h 103420"/>
                <a:gd name="connsiteX2" fmla="*/ 162305 w 162304"/>
                <a:gd name="connsiteY2" fmla="*/ 0 h 103420"/>
                <a:gd name="connsiteX3" fmla="*/ 0 w 162304"/>
                <a:gd name="connsiteY3" fmla="*/ 0 h 103420"/>
                <a:gd name="connsiteX4" fmla="*/ 0 w 162304"/>
                <a:gd name="connsiteY4" fmla="*/ 103421 h 103420"/>
                <a:gd name="connsiteX5" fmla="*/ 126521 w 162304"/>
                <a:gd name="connsiteY5" fmla="*/ 94483 h 103420"/>
                <a:gd name="connsiteX6" fmla="*/ 35784 w 162304"/>
                <a:gd name="connsiteY6" fmla="*/ 94483 h 103420"/>
                <a:gd name="connsiteX7" fmla="*/ 29394 w 162304"/>
                <a:gd name="connsiteY7" fmla="*/ 88099 h 103420"/>
                <a:gd name="connsiteX8" fmla="*/ 35784 w 162304"/>
                <a:gd name="connsiteY8" fmla="*/ 81715 h 103420"/>
                <a:gd name="connsiteX9" fmla="*/ 127160 w 162304"/>
                <a:gd name="connsiteY9" fmla="*/ 81715 h 103420"/>
                <a:gd name="connsiteX10" fmla="*/ 133550 w 162304"/>
                <a:gd name="connsiteY10" fmla="*/ 88099 h 103420"/>
                <a:gd name="connsiteX11" fmla="*/ 126521 w 162304"/>
                <a:gd name="connsiteY11" fmla="*/ 94483 h 103420"/>
                <a:gd name="connsiteX12" fmla="*/ 126521 w 162304"/>
                <a:gd name="connsiteY12" fmla="*/ 94483 h 103420"/>
                <a:gd name="connsiteX13" fmla="*/ 122687 w 162304"/>
                <a:gd name="connsiteY13" fmla="*/ 16598 h 103420"/>
                <a:gd name="connsiteX14" fmla="*/ 148247 w 162304"/>
                <a:gd name="connsiteY14" fmla="*/ 42773 h 103420"/>
                <a:gd name="connsiteX15" fmla="*/ 122048 w 162304"/>
                <a:gd name="connsiteY15" fmla="*/ 68309 h 103420"/>
                <a:gd name="connsiteX16" fmla="*/ 96489 w 162304"/>
                <a:gd name="connsiteY16" fmla="*/ 42134 h 103420"/>
                <a:gd name="connsiteX17" fmla="*/ 121409 w 162304"/>
                <a:gd name="connsiteY17" fmla="*/ 15960 h 103420"/>
                <a:gd name="connsiteX18" fmla="*/ 122687 w 162304"/>
                <a:gd name="connsiteY18" fmla="*/ 16598 h 103420"/>
                <a:gd name="connsiteX19" fmla="*/ 122687 w 162304"/>
                <a:gd name="connsiteY19" fmla="*/ 16598 h 103420"/>
                <a:gd name="connsiteX20" fmla="*/ 38979 w 162304"/>
                <a:gd name="connsiteY20" fmla="*/ 16598 h 103420"/>
                <a:gd name="connsiteX21" fmla="*/ 65178 w 162304"/>
                <a:gd name="connsiteY21" fmla="*/ 42134 h 103420"/>
                <a:gd name="connsiteX22" fmla="*/ 39618 w 162304"/>
                <a:gd name="connsiteY22" fmla="*/ 68309 h 103420"/>
                <a:gd name="connsiteX23" fmla="*/ 13419 w 162304"/>
                <a:gd name="connsiteY23" fmla="*/ 42773 h 103420"/>
                <a:gd name="connsiteX24" fmla="*/ 13419 w 162304"/>
                <a:gd name="connsiteY24" fmla="*/ 42773 h 103420"/>
                <a:gd name="connsiteX25" fmla="*/ 38340 w 162304"/>
                <a:gd name="connsiteY25" fmla="*/ 16598 h 103420"/>
                <a:gd name="connsiteX26" fmla="*/ 38979 w 162304"/>
                <a:gd name="connsiteY26" fmla="*/ 16598 h 103420"/>
                <a:gd name="connsiteX27" fmla="*/ 38979 w 162304"/>
                <a:gd name="connsiteY27" fmla="*/ 16598 h 10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2304" h="103420">
                  <a:moveTo>
                    <a:pt x="0" y="103421"/>
                  </a:moveTo>
                  <a:lnTo>
                    <a:pt x="162305" y="103421"/>
                  </a:lnTo>
                  <a:lnTo>
                    <a:pt x="162305" y="0"/>
                  </a:lnTo>
                  <a:lnTo>
                    <a:pt x="0" y="0"/>
                  </a:lnTo>
                  <a:lnTo>
                    <a:pt x="0" y="103421"/>
                  </a:lnTo>
                  <a:close/>
                  <a:moveTo>
                    <a:pt x="126521" y="94483"/>
                  </a:moveTo>
                  <a:lnTo>
                    <a:pt x="35784" y="94483"/>
                  </a:lnTo>
                  <a:cubicBezTo>
                    <a:pt x="31950" y="94483"/>
                    <a:pt x="29394" y="91930"/>
                    <a:pt x="29394" y="88099"/>
                  </a:cubicBezTo>
                  <a:cubicBezTo>
                    <a:pt x="29394" y="84269"/>
                    <a:pt x="31950" y="81715"/>
                    <a:pt x="35784" y="81715"/>
                  </a:cubicBezTo>
                  <a:lnTo>
                    <a:pt x="127160" y="81715"/>
                  </a:lnTo>
                  <a:cubicBezTo>
                    <a:pt x="130994" y="81715"/>
                    <a:pt x="133550" y="84269"/>
                    <a:pt x="133550" y="88099"/>
                  </a:cubicBezTo>
                  <a:cubicBezTo>
                    <a:pt x="133550" y="91930"/>
                    <a:pt x="130355" y="94483"/>
                    <a:pt x="126521" y="94483"/>
                  </a:cubicBezTo>
                  <a:lnTo>
                    <a:pt x="126521" y="94483"/>
                  </a:lnTo>
                  <a:close/>
                  <a:moveTo>
                    <a:pt x="122687" y="16598"/>
                  </a:moveTo>
                  <a:cubicBezTo>
                    <a:pt x="136745" y="16598"/>
                    <a:pt x="148247" y="28090"/>
                    <a:pt x="148247" y="42773"/>
                  </a:cubicBezTo>
                  <a:cubicBezTo>
                    <a:pt x="148247" y="57456"/>
                    <a:pt x="136745" y="68309"/>
                    <a:pt x="122048" y="68309"/>
                  </a:cubicBezTo>
                  <a:cubicBezTo>
                    <a:pt x="107990" y="68309"/>
                    <a:pt x="96489" y="56818"/>
                    <a:pt x="96489" y="42134"/>
                  </a:cubicBezTo>
                  <a:cubicBezTo>
                    <a:pt x="95849" y="28090"/>
                    <a:pt x="107351" y="16598"/>
                    <a:pt x="121409" y="15960"/>
                  </a:cubicBezTo>
                  <a:cubicBezTo>
                    <a:pt x="122048" y="15960"/>
                    <a:pt x="122048" y="15960"/>
                    <a:pt x="122687" y="16598"/>
                  </a:cubicBezTo>
                  <a:lnTo>
                    <a:pt x="122687" y="16598"/>
                  </a:lnTo>
                  <a:close/>
                  <a:moveTo>
                    <a:pt x="38979" y="16598"/>
                  </a:moveTo>
                  <a:cubicBezTo>
                    <a:pt x="53037" y="16598"/>
                    <a:pt x="65178" y="28090"/>
                    <a:pt x="65178" y="42134"/>
                  </a:cubicBezTo>
                  <a:cubicBezTo>
                    <a:pt x="65178" y="56179"/>
                    <a:pt x="53676" y="68309"/>
                    <a:pt x="39618" y="68309"/>
                  </a:cubicBezTo>
                  <a:cubicBezTo>
                    <a:pt x="25560" y="68309"/>
                    <a:pt x="13419" y="56818"/>
                    <a:pt x="13419" y="42773"/>
                  </a:cubicBezTo>
                  <a:cubicBezTo>
                    <a:pt x="13419" y="42773"/>
                    <a:pt x="13419" y="42773"/>
                    <a:pt x="13419" y="42773"/>
                  </a:cubicBezTo>
                  <a:cubicBezTo>
                    <a:pt x="12780" y="28728"/>
                    <a:pt x="24282" y="17237"/>
                    <a:pt x="38340" y="16598"/>
                  </a:cubicBezTo>
                  <a:cubicBezTo>
                    <a:pt x="38340" y="15960"/>
                    <a:pt x="38979" y="15960"/>
                    <a:pt x="38979" y="16598"/>
                  </a:cubicBezTo>
                  <a:lnTo>
                    <a:pt x="38979" y="165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20B76B96-D1BA-3971-B096-25CFED2599D5}"/>
                </a:ext>
              </a:extLst>
            </p:cNvPr>
            <p:cNvSpPr/>
            <p:nvPr/>
          </p:nvSpPr>
          <p:spPr>
            <a:xfrm>
              <a:off x="8239823" y="2855717"/>
              <a:ext cx="362309" cy="361971"/>
            </a:xfrm>
            <a:custGeom>
              <a:avLst/>
              <a:gdLst>
                <a:gd name="connsiteX0" fmla="*/ 180836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6 w 362309"/>
                <a:gd name="connsiteY5" fmla="*/ 0 h 361971"/>
                <a:gd name="connsiteX6" fmla="*/ 180836 w 362309"/>
                <a:gd name="connsiteY6" fmla="*/ 0 h 361971"/>
                <a:gd name="connsiteX7" fmla="*/ 141856 w 362309"/>
                <a:gd name="connsiteY7" fmla="*/ 263658 h 361971"/>
                <a:gd name="connsiteX8" fmla="*/ 140579 w 362309"/>
                <a:gd name="connsiteY8" fmla="*/ 265574 h 361971"/>
                <a:gd name="connsiteX9" fmla="*/ 138661 w 362309"/>
                <a:gd name="connsiteY9" fmla="*/ 266850 h 361971"/>
                <a:gd name="connsiteX10" fmla="*/ 136106 w 362309"/>
                <a:gd name="connsiteY10" fmla="*/ 267489 h 361971"/>
                <a:gd name="connsiteX11" fmla="*/ 133550 w 362309"/>
                <a:gd name="connsiteY11" fmla="*/ 266850 h 361971"/>
                <a:gd name="connsiteX12" fmla="*/ 131633 w 362309"/>
                <a:gd name="connsiteY12" fmla="*/ 265574 h 361971"/>
                <a:gd name="connsiteX13" fmla="*/ 130355 w 362309"/>
                <a:gd name="connsiteY13" fmla="*/ 263658 h 361971"/>
                <a:gd name="connsiteX14" fmla="*/ 129716 w 362309"/>
                <a:gd name="connsiteY14" fmla="*/ 261105 h 361971"/>
                <a:gd name="connsiteX15" fmla="*/ 131633 w 362309"/>
                <a:gd name="connsiteY15" fmla="*/ 256636 h 361971"/>
                <a:gd name="connsiteX16" fmla="*/ 137384 w 362309"/>
                <a:gd name="connsiteY16" fmla="*/ 254721 h 361971"/>
                <a:gd name="connsiteX17" fmla="*/ 138661 w 362309"/>
                <a:gd name="connsiteY17" fmla="*/ 254721 h 361971"/>
                <a:gd name="connsiteX18" fmla="*/ 139940 w 362309"/>
                <a:gd name="connsiteY18" fmla="*/ 255359 h 361971"/>
                <a:gd name="connsiteX19" fmla="*/ 141217 w 362309"/>
                <a:gd name="connsiteY19" fmla="*/ 255998 h 361971"/>
                <a:gd name="connsiteX20" fmla="*/ 143135 w 362309"/>
                <a:gd name="connsiteY20" fmla="*/ 260466 h 361971"/>
                <a:gd name="connsiteX21" fmla="*/ 141856 w 362309"/>
                <a:gd name="connsiteY21" fmla="*/ 263658 h 361971"/>
                <a:gd name="connsiteX22" fmla="*/ 180836 w 362309"/>
                <a:gd name="connsiteY22" fmla="*/ 267489 h 361971"/>
                <a:gd name="connsiteX23" fmla="*/ 174446 w 362309"/>
                <a:gd name="connsiteY23" fmla="*/ 261105 h 361971"/>
                <a:gd name="connsiteX24" fmla="*/ 180836 w 362309"/>
                <a:gd name="connsiteY24" fmla="*/ 254721 h 361971"/>
                <a:gd name="connsiteX25" fmla="*/ 187225 w 362309"/>
                <a:gd name="connsiteY25" fmla="*/ 261105 h 361971"/>
                <a:gd name="connsiteX26" fmla="*/ 180836 w 362309"/>
                <a:gd name="connsiteY26" fmla="*/ 267489 h 361971"/>
                <a:gd name="connsiteX27" fmla="*/ 180836 w 362309"/>
                <a:gd name="connsiteY27" fmla="*/ 267489 h 361971"/>
                <a:gd name="connsiteX28" fmla="*/ 180836 w 362309"/>
                <a:gd name="connsiteY28" fmla="*/ 267489 h 361971"/>
                <a:gd name="connsiteX29" fmla="*/ 231955 w 362309"/>
                <a:gd name="connsiteY29" fmla="*/ 263658 h 361971"/>
                <a:gd name="connsiteX30" fmla="*/ 230677 w 362309"/>
                <a:gd name="connsiteY30" fmla="*/ 265574 h 361971"/>
                <a:gd name="connsiteX31" fmla="*/ 223648 w 362309"/>
                <a:gd name="connsiteY31" fmla="*/ 266850 h 361971"/>
                <a:gd name="connsiteX32" fmla="*/ 221731 w 362309"/>
                <a:gd name="connsiteY32" fmla="*/ 265574 h 361971"/>
                <a:gd name="connsiteX33" fmla="*/ 220453 w 362309"/>
                <a:gd name="connsiteY33" fmla="*/ 263658 h 361971"/>
                <a:gd name="connsiteX34" fmla="*/ 219814 w 362309"/>
                <a:gd name="connsiteY34" fmla="*/ 261105 h 361971"/>
                <a:gd name="connsiteX35" fmla="*/ 221731 w 362309"/>
                <a:gd name="connsiteY35" fmla="*/ 256636 h 361971"/>
                <a:gd name="connsiteX36" fmla="*/ 223648 w 362309"/>
                <a:gd name="connsiteY36" fmla="*/ 255359 h 361971"/>
                <a:gd name="connsiteX37" fmla="*/ 227482 w 362309"/>
                <a:gd name="connsiteY37" fmla="*/ 255359 h 361971"/>
                <a:gd name="connsiteX38" fmla="*/ 228760 w 362309"/>
                <a:gd name="connsiteY38" fmla="*/ 255359 h 361971"/>
                <a:gd name="connsiteX39" fmla="*/ 230038 w 362309"/>
                <a:gd name="connsiteY39" fmla="*/ 255998 h 361971"/>
                <a:gd name="connsiteX40" fmla="*/ 231315 w 362309"/>
                <a:gd name="connsiteY40" fmla="*/ 256636 h 361971"/>
                <a:gd name="connsiteX41" fmla="*/ 233233 w 362309"/>
                <a:gd name="connsiteY41" fmla="*/ 261105 h 361971"/>
                <a:gd name="connsiteX42" fmla="*/ 231955 w 362309"/>
                <a:gd name="connsiteY42" fmla="*/ 263658 h 361971"/>
                <a:gd name="connsiteX43" fmla="*/ 231955 w 362309"/>
                <a:gd name="connsiteY43" fmla="*/ 263658 h 361971"/>
                <a:gd name="connsiteX44" fmla="*/ 272211 w 362309"/>
                <a:gd name="connsiteY44" fmla="*/ 284087 h 361971"/>
                <a:gd name="connsiteX45" fmla="*/ 265821 w 362309"/>
                <a:gd name="connsiteY45" fmla="*/ 290471 h 361971"/>
                <a:gd name="connsiteX46" fmla="*/ 259431 w 362309"/>
                <a:gd name="connsiteY46" fmla="*/ 284087 h 361971"/>
                <a:gd name="connsiteX47" fmla="*/ 259431 w 362309"/>
                <a:gd name="connsiteY47" fmla="*/ 236207 h 361971"/>
                <a:gd name="connsiteX48" fmla="*/ 255597 w 362309"/>
                <a:gd name="connsiteY48" fmla="*/ 232377 h 361971"/>
                <a:gd name="connsiteX49" fmla="*/ 100961 w 362309"/>
                <a:gd name="connsiteY49" fmla="*/ 232377 h 361971"/>
                <a:gd name="connsiteX50" fmla="*/ 97127 w 362309"/>
                <a:gd name="connsiteY50" fmla="*/ 236207 h 361971"/>
                <a:gd name="connsiteX51" fmla="*/ 97127 w 362309"/>
                <a:gd name="connsiteY51" fmla="*/ 283449 h 361971"/>
                <a:gd name="connsiteX52" fmla="*/ 90737 w 362309"/>
                <a:gd name="connsiteY52" fmla="*/ 289833 h 361971"/>
                <a:gd name="connsiteX53" fmla="*/ 84347 w 362309"/>
                <a:gd name="connsiteY53" fmla="*/ 283449 h 361971"/>
                <a:gd name="connsiteX54" fmla="*/ 84347 w 362309"/>
                <a:gd name="connsiteY54" fmla="*/ 236207 h 361971"/>
                <a:gd name="connsiteX55" fmla="*/ 100961 w 362309"/>
                <a:gd name="connsiteY55" fmla="*/ 219609 h 361971"/>
                <a:gd name="connsiteX56" fmla="*/ 255597 w 362309"/>
                <a:gd name="connsiteY56" fmla="*/ 219609 h 361971"/>
                <a:gd name="connsiteX57" fmla="*/ 272211 w 362309"/>
                <a:gd name="connsiteY57" fmla="*/ 236207 h 361971"/>
                <a:gd name="connsiteX58" fmla="*/ 272211 w 362309"/>
                <a:gd name="connsiteY58" fmla="*/ 284087 h 361971"/>
                <a:gd name="connsiteX59" fmla="*/ 274767 w 362309"/>
                <a:gd name="connsiteY59" fmla="*/ 178752 h 361971"/>
                <a:gd name="connsiteX60" fmla="*/ 274767 w 362309"/>
                <a:gd name="connsiteY60" fmla="*/ 206203 h 361971"/>
                <a:gd name="connsiteX61" fmla="*/ 268377 w 362309"/>
                <a:gd name="connsiteY61" fmla="*/ 212587 h 361971"/>
                <a:gd name="connsiteX62" fmla="*/ 93293 w 362309"/>
                <a:gd name="connsiteY62" fmla="*/ 212587 h 361971"/>
                <a:gd name="connsiteX63" fmla="*/ 86903 w 362309"/>
                <a:gd name="connsiteY63" fmla="*/ 206203 h 361971"/>
                <a:gd name="connsiteX64" fmla="*/ 86903 w 362309"/>
                <a:gd name="connsiteY64" fmla="*/ 179390 h 361971"/>
                <a:gd name="connsiteX65" fmla="*/ 65177 w 362309"/>
                <a:gd name="connsiteY65" fmla="*/ 145555 h 361971"/>
                <a:gd name="connsiteX66" fmla="*/ 86903 w 362309"/>
                <a:gd name="connsiteY66" fmla="*/ 123849 h 361971"/>
                <a:gd name="connsiteX67" fmla="*/ 86903 w 362309"/>
                <a:gd name="connsiteY67" fmla="*/ 90014 h 361971"/>
                <a:gd name="connsiteX68" fmla="*/ 93293 w 362309"/>
                <a:gd name="connsiteY68" fmla="*/ 83630 h 361971"/>
                <a:gd name="connsiteX69" fmla="*/ 268377 w 362309"/>
                <a:gd name="connsiteY69" fmla="*/ 83630 h 361971"/>
                <a:gd name="connsiteX70" fmla="*/ 274767 w 362309"/>
                <a:gd name="connsiteY70" fmla="*/ 90014 h 361971"/>
                <a:gd name="connsiteX71" fmla="*/ 274767 w 362309"/>
                <a:gd name="connsiteY71" fmla="*/ 123849 h 361971"/>
                <a:gd name="connsiteX72" fmla="*/ 295854 w 362309"/>
                <a:gd name="connsiteY72" fmla="*/ 157684 h 361971"/>
                <a:gd name="connsiteX73" fmla="*/ 274767 w 362309"/>
                <a:gd name="connsiteY73" fmla="*/ 178752 h 361971"/>
                <a:gd name="connsiteX74" fmla="*/ 274767 w 362309"/>
                <a:gd name="connsiteY74" fmla="*/ 178752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62309" h="361971">
                  <a:moveTo>
                    <a:pt x="180836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0667"/>
                  </a:cubicBezTo>
                  <a:cubicBezTo>
                    <a:pt x="362309" y="180667"/>
                    <a:pt x="362309" y="180667"/>
                    <a:pt x="362309" y="180667"/>
                  </a:cubicBezTo>
                  <a:cubicBezTo>
                    <a:pt x="362309" y="80438"/>
                    <a:pt x="281157" y="0"/>
                    <a:pt x="180836" y="0"/>
                  </a:cubicBezTo>
                  <a:cubicBezTo>
                    <a:pt x="180836" y="0"/>
                    <a:pt x="180836" y="0"/>
                    <a:pt x="180836" y="0"/>
                  </a:cubicBezTo>
                  <a:close/>
                  <a:moveTo>
                    <a:pt x="141856" y="263658"/>
                  </a:moveTo>
                  <a:cubicBezTo>
                    <a:pt x="141217" y="264297"/>
                    <a:pt x="141217" y="264935"/>
                    <a:pt x="140579" y="265574"/>
                  </a:cubicBezTo>
                  <a:cubicBezTo>
                    <a:pt x="139940" y="266212"/>
                    <a:pt x="139301" y="266850"/>
                    <a:pt x="138661" y="266850"/>
                  </a:cubicBezTo>
                  <a:cubicBezTo>
                    <a:pt x="138022" y="266850"/>
                    <a:pt x="137384" y="267489"/>
                    <a:pt x="136106" y="267489"/>
                  </a:cubicBezTo>
                  <a:cubicBezTo>
                    <a:pt x="135466" y="267489"/>
                    <a:pt x="134189" y="267489"/>
                    <a:pt x="133550" y="266850"/>
                  </a:cubicBezTo>
                  <a:cubicBezTo>
                    <a:pt x="132911" y="266212"/>
                    <a:pt x="132271" y="266212"/>
                    <a:pt x="131633" y="265574"/>
                  </a:cubicBezTo>
                  <a:cubicBezTo>
                    <a:pt x="130994" y="264935"/>
                    <a:pt x="130355" y="264297"/>
                    <a:pt x="130355" y="263658"/>
                  </a:cubicBezTo>
                  <a:cubicBezTo>
                    <a:pt x="130355" y="263020"/>
                    <a:pt x="129716" y="262382"/>
                    <a:pt x="129716" y="261105"/>
                  </a:cubicBezTo>
                  <a:cubicBezTo>
                    <a:pt x="129716" y="259190"/>
                    <a:pt x="130355" y="257913"/>
                    <a:pt x="131633" y="256636"/>
                  </a:cubicBezTo>
                  <a:cubicBezTo>
                    <a:pt x="132911" y="255359"/>
                    <a:pt x="135466" y="254721"/>
                    <a:pt x="137384" y="254721"/>
                  </a:cubicBezTo>
                  <a:lnTo>
                    <a:pt x="138661" y="254721"/>
                  </a:lnTo>
                  <a:cubicBezTo>
                    <a:pt x="139301" y="254721"/>
                    <a:pt x="139301" y="255359"/>
                    <a:pt x="139940" y="255359"/>
                  </a:cubicBezTo>
                  <a:cubicBezTo>
                    <a:pt x="140579" y="255359"/>
                    <a:pt x="140579" y="255998"/>
                    <a:pt x="141217" y="255998"/>
                  </a:cubicBezTo>
                  <a:cubicBezTo>
                    <a:pt x="142496" y="257274"/>
                    <a:pt x="143135" y="258551"/>
                    <a:pt x="143135" y="260466"/>
                  </a:cubicBezTo>
                  <a:cubicBezTo>
                    <a:pt x="141856" y="262382"/>
                    <a:pt x="141856" y="263020"/>
                    <a:pt x="141856" y="263658"/>
                  </a:cubicBezTo>
                  <a:close/>
                  <a:moveTo>
                    <a:pt x="180836" y="267489"/>
                  </a:moveTo>
                  <a:cubicBezTo>
                    <a:pt x="177001" y="267489"/>
                    <a:pt x="174446" y="264935"/>
                    <a:pt x="174446" y="261105"/>
                  </a:cubicBezTo>
                  <a:cubicBezTo>
                    <a:pt x="174446" y="257274"/>
                    <a:pt x="177001" y="254721"/>
                    <a:pt x="180836" y="254721"/>
                  </a:cubicBezTo>
                  <a:cubicBezTo>
                    <a:pt x="184669" y="254721"/>
                    <a:pt x="187225" y="257274"/>
                    <a:pt x="187225" y="261105"/>
                  </a:cubicBezTo>
                  <a:cubicBezTo>
                    <a:pt x="187864" y="264935"/>
                    <a:pt x="184669" y="267489"/>
                    <a:pt x="180836" y="267489"/>
                  </a:cubicBezTo>
                  <a:cubicBezTo>
                    <a:pt x="181474" y="268127"/>
                    <a:pt x="181474" y="268127"/>
                    <a:pt x="180836" y="267489"/>
                  </a:cubicBezTo>
                  <a:lnTo>
                    <a:pt x="180836" y="267489"/>
                  </a:lnTo>
                  <a:close/>
                  <a:moveTo>
                    <a:pt x="231955" y="263658"/>
                  </a:moveTo>
                  <a:cubicBezTo>
                    <a:pt x="231315" y="264297"/>
                    <a:pt x="231315" y="264935"/>
                    <a:pt x="230677" y="265574"/>
                  </a:cubicBezTo>
                  <a:cubicBezTo>
                    <a:pt x="228760" y="267489"/>
                    <a:pt x="226204" y="268127"/>
                    <a:pt x="223648" y="266850"/>
                  </a:cubicBezTo>
                  <a:cubicBezTo>
                    <a:pt x="223009" y="266212"/>
                    <a:pt x="222370" y="266212"/>
                    <a:pt x="221731" y="265574"/>
                  </a:cubicBezTo>
                  <a:cubicBezTo>
                    <a:pt x="221092" y="264935"/>
                    <a:pt x="220453" y="264297"/>
                    <a:pt x="220453" y="263658"/>
                  </a:cubicBezTo>
                  <a:cubicBezTo>
                    <a:pt x="219814" y="263020"/>
                    <a:pt x="219814" y="262382"/>
                    <a:pt x="219814" y="261105"/>
                  </a:cubicBezTo>
                  <a:cubicBezTo>
                    <a:pt x="219814" y="259190"/>
                    <a:pt x="220453" y="257913"/>
                    <a:pt x="221731" y="256636"/>
                  </a:cubicBezTo>
                  <a:cubicBezTo>
                    <a:pt x="222370" y="255998"/>
                    <a:pt x="223009" y="255359"/>
                    <a:pt x="223648" y="255359"/>
                  </a:cubicBezTo>
                  <a:cubicBezTo>
                    <a:pt x="224925" y="254721"/>
                    <a:pt x="226204" y="254721"/>
                    <a:pt x="227482" y="255359"/>
                  </a:cubicBezTo>
                  <a:lnTo>
                    <a:pt x="228760" y="255359"/>
                  </a:lnTo>
                  <a:lnTo>
                    <a:pt x="230038" y="255998"/>
                  </a:lnTo>
                  <a:lnTo>
                    <a:pt x="231315" y="256636"/>
                  </a:lnTo>
                  <a:cubicBezTo>
                    <a:pt x="232594" y="257913"/>
                    <a:pt x="233233" y="259190"/>
                    <a:pt x="233233" y="261105"/>
                  </a:cubicBezTo>
                  <a:cubicBezTo>
                    <a:pt x="232594" y="261743"/>
                    <a:pt x="232594" y="263020"/>
                    <a:pt x="231955" y="263658"/>
                  </a:cubicBezTo>
                  <a:lnTo>
                    <a:pt x="231955" y="263658"/>
                  </a:lnTo>
                  <a:close/>
                  <a:moveTo>
                    <a:pt x="272211" y="284087"/>
                  </a:moveTo>
                  <a:cubicBezTo>
                    <a:pt x="272211" y="287917"/>
                    <a:pt x="269655" y="290471"/>
                    <a:pt x="265821" y="290471"/>
                  </a:cubicBezTo>
                  <a:cubicBezTo>
                    <a:pt x="261987" y="290471"/>
                    <a:pt x="259431" y="287917"/>
                    <a:pt x="259431" y="284087"/>
                  </a:cubicBezTo>
                  <a:lnTo>
                    <a:pt x="259431" y="236207"/>
                  </a:lnTo>
                  <a:cubicBezTo>
                    <a:pt x="259431" y="234292"/>
                    <a:pt x="257515" y="232377"/>
                    <a:pt x="255597" y="232377"/>
                  </a:cubicBezTo>
                  <a:lnTo>
                    <a:pt x="100961" y="232377"/>
                  </a:lnTo>
                  <a:cubicBezTo>
                    <a:pt x="99044" y="232377"/>
                    <a:pt x="97127" y="234292"/>
                    <a:pt x="97127" y="236207"/>
                  </a:cubicBezTo>
                  <a:lnTo>
                    <a:pt x="97127" y="283449"/>
                  </a:lnTo>
                  <a:cubicBezTo>
                    <a:pt x="97127" y="287279"/>
                    <a:pt x="94571" y="289833"/>
                    <a:pt x="90737" y="289833"/>
                  </a:cubicBezTo>
                  <a:cubicBezTo>
                    <a:pt x="86903" y="289833"/>
                    <a:pt x="84347" y="287279"/>
                    <a:pt x="84347" y="283449"/>
                  </a:cubicBezTo>
                  <a:lnTo>
                    <a:pt x="84347" y="236207"/>
                  </a:lnTo>
                  <a:cubicBezTo>
                    <a:pt x="84347" y="227270"/>
                    <a:pt x="92015" y="219609"/>
                    <a:pt x="100961" y="219609"/>
                  </a:cubicBezTo>
                  <a:lnTo>
                    <a:pt x="255597" y="219609"/>
                  </a:lnTo>
                  <a:cubicBezTo>
                    <a:pt x="264544" y="219609"/>
                    <a:pt x="272211" y="227270"/>
                    <a:pt x="272211" y="236207"/>
                  </a:cubicBezTo>
                  <a:lnTo>
                    <a:pt x="272211" y="284087"/>
                  </a:lnTo>
                  <a:close/>
                  <a:moveTo>
                    <a:pt x="274767" y="178752"/>
                  </a:moveTo>
                  <a:lnTo>
                    <a:pt x="274767" y="206203"/>
                  </a:lnTo>
                  <a:cubicBezTo>
                    <a:pt x="274767" y="210033"/>
                    <a:pt x="272211" y="212587"/>
                    <a:pt x="268377" y="212587"/>
                  </a:cubicBezTo>
                  <a:lnTo>
                    <a:pt x="93293" y="212587"/>
                  </a:lnTo>
                  <a:cubicBezTo>
                    <a:pt x="89459" y="212587"/>
                    <a:pt x="86903" y="210033"/>
                    <a:pt x="86903" y="206203"/>
                  </a:cubicBezTo>
                  <a:lnTo>
                    <a:pt x="86903" y="179390"/>
                  </a:lnTo>
                  <a:cubicBezTo>
                    <a:pt x="71567" y="176198"/>
                    <a:pt x="61982" y="160876"/>
                    <a:pt x="65177" y="145555"/>
                  </a:cubicBezTo>
                  <a:cubicBezTo>
                    <a:pt x="67733" y="134702"/>
                    <a:pt x="76040" y="126403"/>
                    <a:pt x="86903" y="123849"/>
                  </a:cubicBezTo>
                  <a:lnTo>
                    <a:pt x="86903" y="90014"/>
                  </a:lnTo>
                  <a:cubicBezTo>
                    <a:pt x="86903" y="86184"/>
                    <a:pt x="89459" y="83630"/>
                    <a:pt x="93293" y="83630"/>
                  </a:cubicBezTo>
                  <a:lnTo>
                    <a:pt x="268377" y="83630"/>
                  </a:lnTo>
                  <a:cubicBezTo>
                    <a:pt x="272211" y="83630"/>
                    <a:pt x="274767" y="86184"/>
                    <a:pt x="274767" y="90014"/>
                  </a:cubicBezTo>
                  <a:lnTo>
                    <a:pt x="274767" y="123849"/>
                  </a:lnTo>
                  <a:cubicBezTo>
                    <a:pt x="290103" y="127680"/>
                    <a:pt x="299688" y="142363"/>
                    <a:pt x="295854" y="157684"/>
                  </a:cubicBezTo>
                  <a:cubicBezTo>
                    <a:pt x="293298" y="168537"/>
                    <a:pt x="285630" y="176836"/>
                    <a:pt x="274767" y="178752"/>
                  </a:cubicBezTo>
                  <a:lnTo>
                    <a:pt x="274767" y="17875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6564D7FA-E014-B2FA-9F07-43C390EBF5EE}"/>
                </a:ext>
              </a:extLst>
            </p:cNvPr>
            <p:cNvSpPr/>
            <p:nvPr/>
          </p:nvSpPr>
          <p:spPr>
            <a:xfrm>
              <a:off x="8514591" y="2992335"/>
              <a:ext cx="9171" cy="28727"/>
            </a:xfrm>
            <a:custGeom>
              <a:avLst/>
              <a:gdLst>
                <a:gd name="connsiteX0" fmla="*/ 0 w 9171"/>
                <a:gd name="connsiteY0" fmla="*/ 0 h 28727"/>
                <a:gd name="connsiteX1" fmla="*/ 0 w 9171"/>
                <a:gd name="connsiteY1" fmla="*/ 28728 h 28727"/>
                <a:gd name="connsiteX2" fmla="*/ 7668 w 9171"/>
                <a:gd name="connsiteY2" fmla="*/ 7661 h 28727"/>
                <a:gd name="connsiteX3" fmla="*/ 0 w 9171"/>
                <a:gd name="connsiteY3" fmla="*/ 0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71" h="28727">
                  <a:moveTo>
                    <a:pt x="0" y="0"/>
                  </a:moveTo>
                  <a:lnTo>
                    <a:pt x="0" y="28728"/>
                  </a:lnTo>
                  <a:cubicBezTo>
                    <a:pt x="7668" y="24897"/>
                    <a:pt x="11502" y="15960"/>
                    <a:pt x="7668" y="7661"/>
                  </a:cubicBezTo>
                  <a:cubicBezTo>
                    <a:pt x="6390" y="4469"/>
                    <a:pt x="3834" y="1915"/>
                    <a:pt x="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3114743" y="2701305"/>
            <a:ext cx="2282577" cy="988680"/>
          </a:xfrm>
        </p:spPr>
        <p:txBody>
          <a:bodyPr>
            <a:normAutofit/>
          </a:bodyPr>
          <a:lstStyle/>
          <a:p>
            <a:r>
              <a:rPr lang="es-MX" dirty="0"/>
              <a:t>Incorporación de nuevas tecnologías digitales en todas las áreas de una organización para mejorar las operaciones y la entrega de valor a los usuarios de la información.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63295" y="682940"/>
            <a:ext cx="11277600" cy="757255"/>
          </a:xfrm>
        </p:spPr>
        <p:txBody>
          <a:bodyPr/>
          <a:lstStyle/>
          <a:p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a integración de la inteligencia artificial en la auditoría</a:t>
            </a:r>
            <a:endParaRPr lang="en-US" dirty="0"/>
          </a:p>
        </p:txBody>
      </p:sp>
      <p:pic>
        <p:nvPicPr>
          <p:cNvPr id="4" name="Picture 3" descr="A robot holding a tablet&#10;&#10;Description automatically generated">
            <a:extLst>
              <a:ext uri="{FF2B5EF4-FFF2-40B4-BE49-F238E27FC236}">
                <a16:creationId xmlns:a16="http://schemas.microsoft.com/office/drawing/2014/main" id="{BD52DB19-3568-016F-E568-9FF1CE85F71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82"/>
          <a:stretch/>
        </p:blipFill>
        <p:spPr>
          <a:xfrm>
            <a:off x="6350000" y="1714500"/>
            <a:ext cx="5380177" cy="466725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E03A5B82-546D-5522-162D-36B369794CBC}"/>
              </a:ext>
            </a:extLst>
          </p:cNvPr>
          <p:cNvGrpSpPr/>
          <p:nvPr/>
        </p:nvGrpSpPr>
        <p:grpSpPr>
          <a:xfrm rot="16200000">
            <a:off x="849000" y="2583825"/>
            <a:ext cx="1856973" cy="2633727"/>
            <a:chOff x="1483255" y="3471786"/>
            <a:chExt cx="1856973" cy="2633727"/>
          </a:xfrm>
        </p:grpSpPr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0CBB105B-1D2C-3212-E6DE-7398B354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897" y="3604426"/>
              <a:ext cx="1592660" cy="2501087"/>
            </a:xfrm>
            <a:custGeom>
              <a:avLst/>
              <a:gdLst>
                <a:gd name="T0" fmla="*/ 139 w 277"/>
                <a:gd name="T1" fmla="*/ 663 h 663"/>
                <a:gd name="T2" fmla="*/ 24 w 277"/>
                <a:gd name="T3" fmla="*/ 548 h 663"/>
                <a:gd name="T4" fmla="*/ 138 w 277"/>
                <a:gd name="T5" fmla="*/ 433 h 663"/>
                <a:gd name="T6" fmla="*/ 138 w 277"/>
                <a:gd name="T7" fmla="*/ 276 h 663"/>
                <a:gd name="T8" fmla="*/ 139 w 277"/>
                <a:gd name="T9" fmla="*/ 275 h 663"/>
                <a:gd name="T10" fmla="*/ 275 w 277"/>
                <a:gd name="T11" fmla="*/ 139 h 663"/>
                <a:gd name="T12" fmla="*/ 139 w 277"/>
                <a:gd name="T13" fmla="*/ 2 h 663"/>
                <a:gd name="T14" fmla="*/ 3 w 277"/>
                <a:gd name="T15" fmla="*/ 139 h 663"/>
                <a:gd name="T16" fmla="*/ 1 w 277"/>
                <a:gd name="T17" fmla="*/ 140 h 663"/>
                <a:gd name="T18" fmla="*/ 0 w 277"/>
                <a:gd name="T19" fmla="*/ 139 h 663"/>
                <a:gd name="T20" fmla="*/ 139 w 277"/>
                <a:gd name="T21" fmla="*/ 0 h 663"/>
                <a:gd name="T22" fmla="*/ 277 w 277"/>
                <a:gd name="T23" fmla="*/ 139 h 663"/>
                <a:gd name="T24" fmla="*/ 140 w 277"/>
                <a:gd name="T25" fmla="*/ 277 h 663"/>
                <a:gd name="T26" fmla="*/ 140 w 277"/>
                <a:gd name="T27" fmla="*/ 434 h 663"/>
                <a:gd name="T28" fmla="*/ 139 w 277"/>
                <a:gd name="T29" fmla="*/ 435 h 663"/>
                <a:gd name="T30" fmla="*/ 26 w 277"/>
                <a:gd name="T31" fmla="*/ 548 h 663"/>
                <a:gd name="T32" fmla="*/ 139 w 277"/>
                <a:gd name="T33" fmla="*/ 661 h 663"/>
                <a:gd name="T34" fmla="*/ 252 w 277"/>
                <a:gd name="T35" fmla="*/ 548 h 663"/>
                <a:gd name="T36" fmla="*/ 253 w 277"/>
                <a:gd name="T37" fmla="*/ 547 h 663"/>
                <a:gd name="T38" fmla="*/ 254 w 277"/>
                <a:gd name="T39" fmla="*/ 548 h 663"/>
                <a:gd name="T40" fmla="*/ 139 w 277"/>
                <a:gd name="T41" fmla="*/ 663 h 663"/>
                <a:gd name="connsiteX0" fmla="*/ 5018 w 10000"/>
                <a:gd name="connsiteY0" fmla="*/ 10000 h 10000"/>
                <a:gd name="connsiteX1" fmla="*/ 866 w 10000"/>
                <a:gd name="connsiteY1" fmla="*/ 8265 h 10000"/>
                <a:gd name="connsiteX2" fmla="*/ 4982 w 10000"/>
                <a:gd name="connsiteY2" fmla="*/ 6531 h 10000"/>
                <a:gd name="connsiteX3" fmla="*/ 4982 w 10000"/>
                <a:gd name="connsiteY3" fmla="*/ 4163 h 10000"/>
                <a:gd name="connsiteX4" fmla="*/ 5018 w 10000"/>
                <a:gd name="connsiteY4" fmla="*/ 4148 h 10000"/>
                <a:gd name="connsiteX5" fmla="*/ 9928 w 10000"/>
                <a:gd name="connsiteY5" fmla="*/ 2097 h 10000"/>
                <a:gd name="connsiteX6" fmla="*/ 5018 w 10000"/>
                <a:gd name="connsiteY6" fmla="*/ 30 h 10000"/>
                <a:gd name="connsiteX7" fmla="*/ 108 w 10000"/>
                <a:gd name="connsiteY7" fmla="*/ 2097 h 10000"/>
                <a:gd name="connsiteX8" fmla="*/ 36 w 10000"/>
                <a:gd name="connsiteY8" fmla="*/ 2112 h 10000"/>
                <a:gd name="connsiteX9" fmla="*/ 0 w 10000"/>
                <a:gd name="connsiteY9" fmla="*/ 2097 h 10000"/>
                <a:gd name="connsiteX10" fmla="*/ 5018 w 10000"/>
                <a:gd name="connsiteY10" fmla="*/ 0 h 10000"/>
                <a:gd name="connsiteX11" fmla="*/ 10000 w 10000"/>
                <a:gd name="connsiteY11" fmla="*/ 2097 h 10000"/>
                <a:gd name="connsiteX12" fmla="*/ 5054 w 10000"/>
                <a:gd name="connsiteY12" fmla="*/ 4178 h 10000"/>
                <a:gd name="connsiteX13" fmla="*/ 5054 w 10000"/>
                <a:gd name="connsiteY13" fmla="*/ 6546 h 10000"/>
                <a:gd name="connsiteX14" fmla="*/ 5018 w 10000"/>
                <a:gd name="connsiteY14" fmla="*/ 6561 h 10000"/>
                <a:gd name="connsiteX15" fmla="*/ 939 w 10000"/>
                <a:gd name="connsiteY15" fmla="*/ 8265 h 10000"/>
                <a:gd name="connsiteX16" fmla="*/ 5018 w 10000"/>
                <a:gd name="connsiteY16" fmla="*/ 9970 h 10000"/>
                <a:gd name="connsiteX17" fmla="*/ 9097 w 10000"/>
                <a:gd name="connsiteY17" fmla="*/ 8265 h 10000"/>
                <a:gd name="connsiteX18" fmla="*/ 9134 w 10000"/>
                <a:gd name="connsiteY18" fmla="*/ 8250 h 10000"/>
                <a:gd name="connsiteX19" fmla="*/ 9170 w 10000"/>
                <a:gd name="connsiteY19" fmla="*/ 8265 h 10000"/>
                <a:gd name="connsiteX20" fmla="*/ 5018 w 10000"/>
                <a:gd name="connsiteY20" fmla="*/ 10000 h 10000"/>
                <a:gd name="connsiteX0" fmla="*/ 5018 w 10000"/>
                <a:gd name="connsiteY0" fmla="*/ 10000 h 10000"/>
                <a:gd name="connsiteX1" fmla="*/ 866 w 10000"/>
                <a:gd name="connsiteY1" fmla="*/ 8265 h 10000"/>
                <a:gd name="connsiteX2" fmla="*/ 4982 w 10000"/>
                <a:gd name="connsiteY2" fmla="*/ 6531 h 10000"/>
                <a:gd name="connsiteX3" fmla="*/ 4982 w 10000"/>
                <a:gd name="connsiteY3" fmla="*/ 4163 h 10000"/>
                <a:gd name="connsiteX4" fmla="*/ 5018 w 10000"/>
                <a:gd name="connsiteY4" fmla="*/ 4148 h 10000"/>
                <a:gd name="connsiteX5" fmla="*/ 9928 w 10000"/>
                <a:gd name="connsiteY5" fmla="*/ 2097 h 10000"/>
                <a:gd name="connsiteX6" fmla="*/ 5018 w 10000"/>
                <a:gd name="connsiteY6" fmla="*/ 30 h 10000"/>
                <a:gd name="connsiteX7" fmla="*/ 108 w 10000"/>
                <a:gd name="connsiteY7" fmla="*/ 2097 h 10000"/>
                <a:gd name="connsiteX8" fmla="*/ 36 w 10000"/>
                <a:gd name="connsiteY8" fmla="*/ 2112 h 10000"/>
                <a:gd name="connsiteX9" fmla="*/ 0 w 10000"/>
                <a:gd name="connsiteY9" fmla="*/ 2097 h 10000"/>
                <a:gd name="connsiteX10" fmla="*/ 5018 w 10000"/>
                <a:gd name="connsiteY10" fmla="*/ 0 h 10000"/>
                <a:gd name="connsiteX11" fmla="*/ 10000 w 10000"/>
                <a:gd name="connsiteY11" fmla="*/ 2097 h 10000"/>
                <a:gd name="connsiteX12" fmla="*/ 5054 w 10000"/>
                <a:gd name="connsiteY12" fmla="*/ 4178 h 10000"/>
                <a:gd name="connsiteX13" fmla="*/ 5054 w 10000"/>
                <a:gd name="connsiteY13" fmla="*/ 6546 h 10000"/>
                <a:gd name="connsiteX14" fmla="*/ 5018 w 10000"/>
                <a:gd name="connsiteY14" fmla="*/ 6561 h 10000"/>
                <a:gd name="connsiteX15" fmla="*/ 939 w 10000"/>
                <a:gd name="connsiteY15" fmla="*/ 8265 h 10000"/>
                <a:gd name="connsiteX16" fmla="*/ 5018 w 10000"/>
                <a:gd name="connsiteY16" fmla="*/ 9970 h 10000"/>
                <a:gd name="connsiteX17" fmla="*/ 9097 w 10000"/>
                <a:gd name="connsiteY17" fmla="*/ 8265 h 10000"/>
                <a:gd name="connsiteX18" fmla="*/ 9134 w 10000"/>
                <a:gd name="connsiteY18" fmla="*/ 8250 h 10000"/>
                <a:gd name="connsiteX19" fmla="*/ 5018 w 10000"/>
                <a:gd name="connsiteY19" fmla="*/ 10000 h 10000"/>
                <a:gd name="connsiteX0" fmla="*/ 5018 w 10000"/>
                <a:gd name="connsiteY0" fmla="*/ 10000 h 10000"/>
                <a:gd name="connsiteX1" fmla="*/ 866 w 10000"/>
                <a:gd name="connsiteY1" fmla="*/ 8265 h 10000"/>
                <a:gd name="connsiteX2" fmla="*/ 4982 w 10000"/>
                <a:gd name="connsiteY2" fmla="*/ 6531 h 10000"/>
                <a:gd name="connsiteX3" fmla="*/ 4982 w 10000"/>
                <a:gd name="connsiteY3" fmla="*/ 4163 h 10000"/>
                <a:gd name="connsiteX4" fmla="*/ 5018 w 10000"/>
                <a:gd name="connsiteY4" fmla="*/ 4148 h 10000"/>
                <a:gd name="connsiteX5" fmla="*/ 9928 w 10000"/>
                <a:gd name="connsiteY5" fmla="*/ 2097 h 10000"/>
                <a:gd name="connsiteX6" fmla="*/ 5018 w 10000"/>
                <a:gd name="connsiteY6" fmla="*/ 30 h 10000"/>
                <a:gd name="connsiteX7" fmla="*/ 108 w 10000"/>
                <a:gd name="connsiteY7" fmla="*/ 2097 h 10000"/>
                <a:gd name="connsiteX8" fmla="*/ 36 w 10000"/>
                <a:gd name="connsiteY8" fmla="*/ 2112 h 10000"/>
                <a:gd name="connsiteX9" fmla="*/ 0 w 10000"/>
                <a:gd name="connsiteY9" fmla="*/ 2097 h 10000"/>
                <a:gd name="connsiteX10" fmla="*/ 5018 w 10000"/>
                <a:gd name="connsiteY10" fmla="*/ 0 h 10000"/>
                <a:gd name="connsiteX11" fmla="*/ 10000 w 10000"/>
                <a:gd name="connsiteY11" fmla="*/ 2097 h 10000"/>
                <a:gd name="connsiteX12" fmla="*/ 5054 w 10000"/>
                <a:gd name="connsiteY12" fmla="*/ 4178 h 10000"/>
                <a:gd name="connsiteX13" fmla="*/ 5054 w 10000"/>
                <a:gd name="connsiteY13" fmla="*/ 6546 h 10000"/>
                <a:gd name="connsiteX14" fmla="*/ 5018 w 10000"/>
                <a:gd name="connsiteY14" fmla="*/ 6561 h 10000"/>
                <a:gd name="connsiteX15" fmla="*/ 939 w 10000"/>
                <a:gd name="connsiteY15" fmla="*/ 8265 h 10000"/>
                <a:gd name="connsiteX16" fmla="*/ 5018 w 10000"/>
                <a:gd name="connsiteY16" fmla="*/ 9970 h 10000"/>
                <a:gd name="connsiteX17" fmla="*/ 9097 w 10000"/>
                <a:gd name="connsiteY17" fmla="*/ 8265 h 10000"/>
                <a:gd name="connsiteX18" fmla="*/ 9134 w 10000"/>
                <a:gd name="connsiteY18" fmla="*/ 8250 h 10000"/>
                <a:gd name="connsiteX19" fmla="*/ 5018 w 10000"/>
                <a:gd name="connsiteY19" fmla="*/ 10000 h 10000"/>
                <a:gd name="connsiteX0" fmla="*/ 5018 w 10000"/>
                <a:gd name="connsiteY0" fmla="*/ 10000 h 10000"/>
                <a:gd name="connsiteX1" fmla="*/ 866 w 10000"/>
                <a:gd name="connsiteY1" fmla="*/ 8265 h 10000"/>
                <a:gd name="connsiteX2" fmla="*/ 4982 w 10000"/>
                <a:gd name="connsiteY2" fmla="*/ 6531 h 10000"/>
                <a:gd name="connsiteX3" fmla="*/ 4982 w 10000"/>
                <a:gd name="connsiteY3" fmla="*/ 4163 h 10000"/>
                <a:gd name="connsiteX4" fmla="*/ 5018 w 10000"/>
                <a:gd name="connsiteY4" fmla="*/ 4148 h 10000"/>
                <a:gd name="connsiteX5" fmla="*/ 9928 w 10000"/>
                <a:gd name="connsiteY5" fmla="*/ 2097 h 10000"/>
                <a:gd name="connsiteX6" fmla="*/ 5018 w 10000"/>
                <a:gd name="connsiteY6" fmla="*/ 30 h 10000"/>
                <a:gd name="connsiteX7" fmla="*/ 108 w 10000"/>
                <a:gd name="connsiteY7" fmla="*/ 2097 h 10000"/>
                <a:gd name="connsiteX8" fmla="*/ 36 w 10000"/>
                <a:gd name="connsiteY8" fmla="*/ 2112 h 10000"/>
                <a:gd name="connsiteX9" fmla="*/ 0 w 10000"/>
                <a:gd name="connsiteY9" fmla="*/ 2097 h 10000"/>
                <a:gd name="connsiteX10" fmla="*/ 5018 w 10000"/>
                <a:gd name="connsiteY10" fmla="*/ 0 h 10000"/>
                <a:gd name="connsiteX11" fmla="*/ 10000 w 10000"/>
                <a:gd name="connsiteY11" fmla="*/ 2097 h 10000"/>
                <a:gd name="connsiteX12" fmla="*/ 5054 w 10000"/>
                <a:gd name="connsiteY12" fmla="*/ 4178 h 10000"/>
                <a:gd name="connsiteX13" fmla="*/ 5054 w 10000"/>
                <a:gd name="connsiteY13" fmla="*/ 6546 h 10000"/>
                <a:gd name="connsiteX14" fmla="*/ 5018 w 10000"/>
                <a:gd name="connsiteY14" fmla="*/ 6561 h 10000"/>
                <a:gd name="connsiteX15" fmla="*/ 939 w 10000"/>
                <a:gd name="connsiteY15" fmla="*/ 8265 h 10000"/>
                <a:gd name="connsiteX16" fmla="*/ 5018 w 10000"/>
                <a:gd name="connsiteY16" fmla="*/ 9970 h 10000"/>
                <a:gd name="connsiteX17" fmla="*/ 9097 w 10000"/>
                <a:gd name="connsiteY17" fmla="*/ 8265 h 10000"/>
                <a:gd name="connsiteX18" fmla="*/ 5018 w 10000"/>
                <a:gd name="connsiteY18" fmla="*/ 10000 h 10000"/>
                <a:gd name="connsiteX0" fmla="*/ 5018 w 10000"/>
                <a:gd name="connsiteY0" fmla="*/ 10000 h 10200"/>
                <a:gd name="connsiteX1" fmla="*/ 866 w 10000"/>
                <a:gd name="connsiteY1" fmla="*/ 8265 h 10200"/>
                <a:gd name="connsiteX2" fmla="*/ 4982 w 10000"/>
                <a:gd name="connsiteY2" fmla="*/ 6531 h 10200"/>
                <a:gd name="connsiteX3" fmla="*/ 4982 w 10000"/>
                <a:gd name="connsiteY3" fmla="*/ 4163 h 10200"/>
                <a:gd name="connsiteX4" fmla="*/ 5018 w 10000"/>
                <a:gd name="connsiteY4" fmla="*/ 4148 h 10200"/>
                <a:gd name="connsiteX5" fmla="*/ 9928 w 10000"/>
                <a:gd name="connsiteY5" fmla="*/ 2097 h 10200"/>
                <a:gd name="connsiteX6" fmla="*/ 5018 w 10000"/>
                <a:gd name="connsiteY6" fmla="*/ 30 h 10200"/>
                <a:gd name="connsiteX7" fmla="*/ 108 w 10000"/>
                <a:gd name="connsiteY7" fmla="*/ 2097 h 10200"/>
                <a:gd name="connsiteX8" fmla="*/ 36 w 10000"/>
                <a:gd name="connsiteY8" fmla="*/ 2112 h 10200"/>
                <a:gd name="connsiteX9" fmla="*/ 0 w 10000"/>
                <a:gd name="connsiteY9" fmla="*/ 2097 h 10200"/>
                <a:gd name="connsiteX10" fmla="*/ 5018 w 10000"/>
                <a:gd name="connsiteY10" fmla="*/ 0 h 10200"/>
                <a:gd name="connsiteX11" fmla="*/ 10000 w 10000"/>
                <a:gd name="connsiteY11" fmla="*/ 2097 h 10200"/>
                <a:gd name="connsiteX12" fmla="*/ 5054 w 10000"/>
                <a:gd name="connsiteY12" fmla="*/ 4178 h 10200"/>
                <a:gd name="connsiteX13" fmla="*/ 5054 w 10000"/>
                <a:gd name="connsiteY13" fmla="*/ 6546 h 10200"/>
                <a:gd name="connsiteX14" fmla="*/ 5018 w 10000"/>
                <a:gd name="connsiteY14" fmla="*/ 6561 h 10200"/>
                <a:gd name="connsiteX15" fmla="*/ 939 w 10000"/>
                <a:gd name="connsiteY15" fmla="*/ 8265 h 10200"/>
                <a:gd name="connsiteX16" fmla="*/ 5018 w 10000"/>
                <a:gd name="connsiteY16" fmla="*/ 9970 h 10200"/>
                <a:gd name="connsiteX17" fmla="*/ 5018 w 10000"/>
                <a:gd name="connsiteY17" fmla="*/ 10000 h 10200"/>
                <a:gd name="connsiteX0" fmla="*/ 5018 w 10000"/>
                <a:gd name="connsiteY0" fmla="*/ 10000 h 10200"/>
                <a:gd name="connsiteX1" fmla="*/ 866 w 10000"/>
                <a:gd name="connsiteY1" fmla="*/ 8265 h 10200"/>
                <a:gd name="connsiteX2" fmla="*/ 4982 w 10000"/>
                <a:gd name="connsiteY2" fmla="*/ 6531 h 10200"/>
                <a:gd name="connsiteX3" fmla="*/ 4982 w 10000"/>
                <a:gd name="connsiteY3" fmla="*/ 4163 h 10200"/>
                <a:gd name="connsiteX4" fmla="*/ 5018 w 10000"/>
                <a:gd name="connsiteY4" fmla="*/ 4148 h 10200"/>
                <a:gd name="connsiteX5" fmla="*/ 9928 w 10000"/>
                <a:gd name="connsiteY5" fmla="*/ 2097 h 10200"/>
                <a:gd name="connsiteX6" fmla="*/ 5018 w 10000"/>
                <a:gd name="connsiteY6" fmla="*/ 30 h 10200"/>
                <a:gd name="connsiteX7" fmla="*/ 108 w 10000"/>
                <a:gd name="connsiteY7" fmla="*/ 2097 h 10200"/>
                <a:gd name="connsiteX8" fmla="*/ 36 w 10000"/>
                <a:gd name="connsiteY8" fmla="*/ 2112 h 10200"/>
                <a:gd name="connsiteX9" fmla="*/ 0 w 10000"/>
                <a:gd name="connsiteY9" fmla="*/ 2097 h 10200"/>
                <a:gd name="connsiteX10" fmla="*/ 5018 w 10000"/>
                <a:gd name="connsiteY10" fmla="*/ 0 h 10200"/>
                <a:gd name="connsiteX11" fmla="*/ 10000 w 10000"/>
                <a:gd name="connsiteY11" fmla="*/ 2097 h 10200"/>
                <a:gd name="connsiteX12" fmla="*/ 5054 w 10000"/>
                <a:gd name="connsiteY12" fmla="*/ 4178 h 10200"/>
                <a:gd name="connsiteX13" fmla="*/ 5054 w 10000"/>
                <a:gd name="connsiteY13" fmla="*/ 6546 h 10200"/>
                <a:gd name="connsiteX14" fmla="*/ 5018 w 10000"/>
                <a:gd name="connsiteY14" fmla="*/ 6561 h 10200"/>
                <a:gd name="connsiteX15" fmla="*/ 939 w 10000"/>
                <a:gd name="connsiteY15" fmla="*/ 8265 h 10200"/>
                <a:gd name="connsiteX16" fmla="*/ 5018 w 10000"/>
                <a:gd name="connsiteY16" fmla="*/ 9970 h 10200"/>
                <a:gd name="connsiteX17" fmla="*/ 5018 w 10000"/>
                <a:gd name="connsiteY17" fmla="*/ 10000 h 10200"/>
                <a:gd name="connsiteX0" fmla="*/ 5018 w 10000"/>
                <a:gd name="connsiteY0" fmla="*/ 9970 h 9970"/>
                <a:gd name="connsiteX1" fmla="*/ 866 w 10000"/>
                <a:gd name="connsiteY1" fmla="*/ 8265 h 9970"/>
                <a:gd name="connsiteX2" fmla="*/ 4982 w 10000"/>
                <a:gd name="connsiteY2" fmla="*/ 6531 h 9970"/>
                <a:gd name="connsiteX3" fmla="*/ 4982 w 10000"/>
                <a:gd name="connsiteY3" fmla="*/ 4163 h 9970"/>
                <a:gd name="connsiteX4" fmla="*/ 5018 w 10000"/>
                <a:gd name="connsiteY4" fmla="*/ 4148 h 9970"/>
                <a:gd name="connsiteX5" fmla="*/ 9928 w 10000"/>
                <a:gd name="connsiteY5" fmla="*/ 2097 h 9970"/>
                <a:gd name="connsiteX6" fmla="*/ 5018 w 10000"/>
                <a:gd name="connsiteY6" fmla="*/ 30 h 9970"/>
                <a:gd name="connsiteX7" fmla="*/ 108 w 10000"/>
                <a:gd name="connsiteY7" fmla="*/ 2097 h 9970"/>
                <a:gd name="connsiteX8" fmla="*/ 36 w 10000"/>
                <a:gd name="connsiteY8" fmla="*/ 2112 h 9970"/>
                <a:gd name="connsiteX9" fmla="*/ 0 w 10000"/>
                <a:gd name="connsiteY9" fmla="*/ 2097 h 9970"/>
                <a:gd name="connsiteX10" fmla="*/ 5018 w 10000"/>
                <a:gd name="connsiteY10" fmla="*/ 0 h 9970"/>
                <a:gd name="connsiteX11" fmla="*/ 10000 w 10000"/>
                <a:gd name="connsiteY11" fmla="*/ 2097 h 9970"/>
                <a:gd name="connsiteX12" fmla="*/ 5054 w 10000"/>
                <a:gd name="connsiteY12" fmla="*/ 4178 h 9970"/>
                <a:gd name="connsiteX13" fmla="*/ 5054 w 10000"/>
                <a:gd name="connsiteY13" fmla="*/ 6546 h 9970"/>
                <a:gd name="connsiteX14" fmla="*/ 5018 w 10000"/>
                <a:gd name="connsiteY14" fmla="*/ 6561 h 9970"/>
                <a:gd name="connsiteX15" fmla="*/ 939 w 10000"/>
                <a:gd name="connsiteY15" fmla="*/ 8265 h 9970"/>
                <a:gd name="connsiteX16" fmla="*/ 5018 w 10000"/>
                <a:gd name="connsiteY16" fmla="*/ 9970 h 9970"/>
                <a:gd name="connsiteX0" fmla="*/ 939 w 10000"/>
                <a:gd name="connsiteY0" fmla="*/ 8290 h 8505"/>
                <a:gd name="connsiteX1" fmla="*/ 866 w 10000"/>
                <a:gd name="connsiteY1" fmla="*/ 8290 h 8505"/>
                <a:gd name="connsiteX2" fmla="*/ 4982 w 10000"/>
                <a:gd name="connsiteY2" fmla="*/ 6551 h 8505"/>
                <a:gd name="connsiteX3" fmla="*/ 4982 w 10000"/>
                <a:gd name="connsiteY3" fmla="*/ 4176 h 8505"/>
                <a:gd name="connsiteX4" fmla="*/ 5018 w 10000"/>
                <a:gd name="connsiteY4" fmla="*/ 4160 h 8505"/>
                <a:gd name="connsiteX5" fmla="*/ 9928 w 10000"/>
                <a:gd name="connsiteY5" fmla="*/ 2103 h 8505"/>
                <a:gd name="connsiteX6" fmla="*/ 5018 w 10000"/>
                <a:gd name="connsiteY6" fmla="*/ 30 h 8505"/>
                <a:gd name="connsiteX7" fmla="*/ 108 w 10000"/>
                <a:gd name="connsiteY7" fmla="*/ 2103 h 8505"/>
                <a:gd name="connsiteX8" fmla="*/ 36 w 10000"/>
                <a:gd name="connsiteY8" fmla="*/ 2118 h 8505"/>
                <a:gd name="connsiteX9" fmla="*/ 0 w 10000"/>
                <a:gd name="connsiteY9" fmla="*/ 2103 h 8505"/>
                <a:gd name="connsiteX10" fmla="*/ 5018 w 10000"/>
                <a:gd name="connsiteY10" fmla="*/ 0 h 8505"/>
                <a:gd name="connsiteX11" fmla="*/ 10000 w 10000"/>
                <a:gd name="connsiteY11" fmla="*/ 2103 h 8505"/>
                <a:gd name="connsiteX12" fmla="*/ 5054 w 10000"/>
                <a:gd name="connsiteY12" fmla="*/ 4191 h 8505"/>
                <a:gd name="connsiteX13" fmla="*/ 5054 w 10000"/>
                <a:gd name="connsiteY13" fmla="*/ 6566 h 8505"/>
                <a:gd name="connsiteX14" fmla="*/ 5018 w 10000"/>
                <a:gd name="connsiteY14" fmla="*/ 6581 h 8505"/>
                <a:gd name="connsiteX15" fmla="*/ 939 w 10000"/>
                <a:gd name="connsiteY15" fmla="*/ 8290 h 8505"/>
                <a:gd name="connsiteX0" fmla="*/ 5018 w 10000"/>
                <a:gd name="connsiteY0" fmla="*/ 7738 h 9747"/>
                <a:gd name="connsiteX1" fmla="*/ 866 w 10000"/>
                <a:gd name="connsiteY1" fmla="*/ 9747 h 9747"/>
                <a:gd name="connsiteX2" fmla="*/ 4982 w 10000"/>
                <a:gd name="connsiteY2" fmla="*/ 7703 h 9747"/>
                <a:gd name="connsiteX3" fmla="*/ 4982 w 10000"/>
                <a:gd name="connsiteY3" fmla="*/ 4910 h 9747"/>
                <a:gd name="connsiteX4" fmla="*/ 5018 w 10000"/>
                <a:gd name="connsiteY4" fmla="*/ 4891 h 9747"/>
                <a:gd name="connsiteX5" fmla="*/ 9928 w 10000"/>
                <a:gd name="connsiteY5" fmla="*/ 2473 h 9747"/>
                <a:gd name="connsiteX6" fmla="*/ 5018 w 10000"/>
                <a:gd name="connsiteY6" fmla="*/ 35 h 9747"/>
                <a:gd name="connsiteX7" fmla="*/ 108 w 10000"/>
                <a:gd name="connsiteY7" fmla="*/ 2473 h 9747"/>
                <a:gd name="connsiteX8" fmla="*/ 36 w 10000"/>
                <a:gd name="connsiteY8" fmla="*/ 2490 h 9747"/>
                <a:gd name="connsiteX9" fmla="*/ 0 w 10000"/>
                <a:gd name="connsiteY9" fmla="*/ 2473 h 9747"/>
                <a:gd name="connsiteX10" fmla="*/ 5018 w 10000"/>
                <a:gd name="connsiteY10" fmla="*/ 0 h 9747"/>
                <a:gd name="connsiteX11" fmla="*/ 10000 w 10000"/>
                <a:gd name="connsiteY11" fmla="*/ 2473 h 9747"/>
                <a:gd name="connsiteX12" fmla="*/ 5054 w 10000"/>
                <a:gd name="connsiteY12" fmla="*/ 4928 h 9747"/>
                <a:gd name="connsiteX13" fmla="*/ 5054 w 10000"/>
                <a:gd name="connsiteY13" fmla="*/ 7720 h 9747"/>
                <a:gd name="connsiteX14" fmla="*/ 5018 w 10000"/>
                <a:gd name="connsiteY14" fmla="*/ 7738 h 9747"/>
                <a:gd name="connsiteX0" fmla="*/ 5018 w 10000"/>
                <a:gd name="connsiteY0" fmla="*/ 7939 h 7939"/>
                <a:gd name="connsiteX1" fmla="*/ 4982 w 10000"/>
                <a:gd name="connsiteY1" fmla="*/ 7903 h 7939"/>
                <a:gd name="connsiteX2" fmla="*/ 4982 w 10000"/>
                <a:gd name="connsiteY2" fmla="*/ 5037 h 7939"/>
                <a:gd name="connsiteX3" fmla="*/ 5018 w 10000"/>
                <a:gd name="connsiteY3" fmla="*/ 5018 h 7939"/>
                <a:gd name="connsiteX4" fmla="*/ 9928 w 10000"/>
                <a:gd name="connsiteY4" fmla="*/ 2537 h 7939"/>
                <a:gd name="connsiteX5" fmla="*/ 5018 w 10000"/>
                <a:gd name="connsiteY5" fmla="*/ 36 h 7939"/>
                <a:gd name="connsiteX6" fmla="*/ 108 w 10000"/>
                <a:gd name="connsiteY6" fmla="*/ 2537 h 7939"/>
                <a:gd name="connsiteX7" fmla="*/ 36 w 10000"/>
                <a:gd name="connsiteY7" fmla="*/ 2555 h 7939"/>
                <a:gd name="connsiteX8" fmla="*/ 0 w 10000"/>
                <a:gd name="connsiteY8" fmla="*/ 2537 h 7939"/>
                <a:gd name="connsiteX9" fmla="*/ 5018 w 10000"/>
                <a:gd name="connsiteY9" fmla="*/ 0 h 7939"/>
                <a:gd name="connsiteX10" fmla="*/ 10000 w 10000"/>
                <a:gd name="connsiteY10" fmla="*/ 2537 h 7939"/>
                <a:gd name="connsiteX11" fmla="*/ 5054 w 10000"/>
                <a:gd name="connsiteY11" fmla="*/ 5056 h 7939"/>
                <a:gd name="connsiteX12" fmla="*/ 5054 w 10000"/>
                <a:gd name="connsiteY12" fmla="*/ 7920 h 7939"/>
                <a:gd name="connsiteX13" fmla="*/ 5018 w 10000"/>
                <a:gd name="connsiteY13" fmla="*/ 7939 h 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0" h="7939">
                  <a:moveTo>
                    <a:pt x="5018" y="7939"/>
                  </a:moveTo>
                  <a:lnTo>
                    <a:pt x="4982" y="7903"/>
                  </a:lnTo>
                  <a:lnTo>
                    <a:pt x="4982" y="5037"/>
                  </a:lnTo>
                  <a:cubicBezTo>
                    <a:pt x="4982" y="5037"/>
                    <a:pt x="4982" y="5018"/>
                    <a:pt x="5018" y="5018"/>
                  </a:cubicBezTo>
                  <a:cubicBezTo>
                    <a:pt x="7726" y="5018"/>
                    <a:pt x="9928" y="3906"/>
                    <a:pt x="9928" y="2537"/>
                  </a:cubicBezTo>
                  <a:cubicBezTo>
                    <a:pt x="9928" y="1168"/>
                    <a:pt x="7726" y="36"/>
                    <a:pt x="5018" y="36"/>
                  </a:cubicBezTo>
                  <a:cubicBezTo>
                    <a:pt x="2310" y="36"/>
                    <a:pt x="108" y="1168"/>
                    <a:pt x="108" y="2537"/>
                  </a:cubicBezTo>
                  <a:cubicBezTo>
                    <a:pt x="108" y="2537"/>
                    <a:pt x="72" y="2555"/>
                    <a:pt x="36" y="2555"/>
                  </a:cubicBezTo>
                  <a:cubicBezTo>
                    <a:pt x="24" y="2548"/>
                    <a:pt x="12" y="2543"/>
                    <a:pt x="0" y="2537"/>
                  </a:cubicBezTo>
                  <a:cubicBezTo>
                    <a:pt x="0" y="1132"/>
                    <a:pt x="2274" y="0"/>
                    <a:pt x="5018" y="0"/>
                  </a:cubicBezTo>
                  <a:cubicBezTo>
                    <a:pt x="7762" y="0"/>
                    <a:pt x="10000" y="1132"/>
                    <a:pt x="10000" y="2537"/>
                  </a:cubicBezTo>
                  <a:cubicBezTo>
                    <a:pt x="10000" y="3924"/>
                    <a:pt x="7798" y="5056"/>
                    <a:pt x="5054" y="5056"/>
                  </a:cubicBezTo>
                  <a:lnTo>
                    <a:pt x="5054" y="7920"/>
                  </a:lnTo>
                  <a:cubicBezTo>
                    <a:pt x="5054" y="7939"/>
                    <a:pt x="5716" y="7592"/>
                    <a:pt x="5018" y="7939"/>
                  </a:cubicBezTo>
                  <a:close/>
                </a:path>
              </a:pathLst>
            </a:cu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6D7CB7AB-C02F-B97B-C903-B594025CF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255" y="3471786"/>
              <a:ext cx="1856973" cy="1598468"/>
            </a:xfrm>
            <a:custGeom>
              <a:avLst/>
              <a:gdLst>
                <a:gd name="T0" fmla="*/ 50 w 323"/>
                <a:gd name="T1" fmla="*/ 278 h 278"/>
                <a:gd name="T2" fmla="*/ 49 w 323"/>
                <a:gd name="T3" fmla="*/ 277 h 278"/>
                <a:gd name="T4" fmla="*/ 0 w 323"/>
                <a:gd name="T5" fmla="*/ 162 h 278"/>
                <a:gd name="T6" fmla="*/ 162 w 323"/>
                <a:gd name="T7" fmla="*/ 0 h 278"/>
                <a:gd name="T8" fmla="*/ 323 w 323"/>
                <a:gd name="T9" fmla="*/ 162 h 278"/>
                <a:gd name="T10" fmla="*/ 321 w 323"/>
                <a:gd name="T11" fmla="*/ 164 h 278"/>
                <a:gd name="T12" fmla="*/ 319 w 323"/>
                <a:gd name="T13" fmla="*/ 162 h 278"/>
                <a:gd name="T14" fmla="*/ 162 w 323"/>
                <a:gd name="T15" fmla="*/ 5 h 278"/>
                <a:gd name="T16" fmla="*/ 5 w 323"/>
                <a:gd name="T17" fmla="*/ 162 h 278"/>
                <a:gd name="T18" fmla="*/ 52 w 323"/>
                <a:gd name="T19" fmla="*/ 274 h 278"/>
                <a:gd name="T20" fmla="*/ 52 w 323"/>
                <a:gd name="T21" fmla="*/ 277 h 278"/>
                <a:gd name="T22" fmla="*/ 50 w 323"/>
                <a:gd name="T23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3" h="278">
                  <a:moveTo>
                    <a:pt x="50" y="278"/>
                  </a:moveTo>
                  <a:cubicBezTo>
                    <a:pt x="50" y="278"/>
                    <a:pt x="49" y="277"/>
                    <a:pt x="49" y="277"/>
                  </a:cubicBezTo>
                  <a:cubicBezTo>
                    <a:pt x="17" y="246"/>
                    <a:pt x="0" y="205"/>
                    <a:pt x="0" y="162"/>
                  </a:cubicBezTo>
                  <a:cubicBezTo>
                    <a:pt x="0" y="73"/>
                    <a:pt x="73" y="0"/>
                    <a:pt x="162" y="0"/>
                  </a:cubicBezTo>
                  <a:cubicBezTo>
                    <a:pt x="251" y="0"/>
                    <a:pt x="323" y="73"/>
                    <a:pt x="323" y="162"/>
                  </a:cubicBezTo>
                  <a:cubicBezTo>
                    <a:pt x="323" y="163"/>
                    <a:pt x="322" y="164"/>
                    <a:pt x="321" y="164"/>
                  </a:cubicBezTo>
                  <a:cubicBezTo>
                    <a:pt x="320" y="164"/>
                    <a:pt x="319" y="163"/>
                    <a:pt x="319" y="162"/>
                  </a:cubicBezTo>
                  <a:cubicBezTo>
                    <a:pt x="319" y="75"/>
                    <a:pt x="248" y="5"/>
                    <a:pt x="162" y="5"/>
                  </a:cubicBezTo>
                  <a:cubicBezTo>
                    <a:pt x="75" y="5"/>
                    <a:pt x="5" y="75"/>
                    <a:pt x="5" y="162"/>
                  </a:cubicBezTo>
                  <a:cubicBezTo>
                    <a:pt x="5" y="204"/>
                    <a:pt x="22" y="244"/>
                    <a:pt x="52" y="274"/>
                  </a:cubicBezTo>
                  <a:cubicBezTo>
                    <a:pt x="53" y="275"/>
                    <a:pt x="53" y="276"/>
                    <a:pt x="52" y="277"/>
                  </a:cubicBezTo>
                  <a:cubicBezTo>
                    <a:pt x="52" y="277"/>
                    <a:pt x="51" y="278"/>
                    <a:pt x="50" y="27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b="1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Oval 17">
              <a:extLst>
                <a:ext uri="{FF2B5EF4-FFF2-40B4-BE49-F238E27FC236}">
                  <a16:creationId xmlns:a16="http://schemas.microsoft.com/office/drawing/2014/main" id="{E82491F1-3629-23C2-14FC-5A9CC70EC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7569" y="5030558"/>
              <a:ext cx="52282" cy="51314"/>
            </a:xfrm>
            <a:prstGeom prst="ellipse">
              <a:avLst/>
            </a:prstGeom>
            <a:solidFill>
              <a:srgbClr val="62B5E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b="1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96F2ED62-EA03-D52C-9CF3-D46A25EE50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253" y="3800000"/>
              <a:ext cx="1207539" cy="1207539"/>
            </a:xfrm>
            <a:custGeom>
              <a:avLst/>
              <a:gdLst>
                <a:gd name="T0" fmla="*/ 98 w 196"/>
                <a:gd name="T1" fmla="*/ 13 h 196"/>
                <a:gd name="T2" fmla="*/ 183 w 196"/>
                <a:gd name="T3" fmla="*/ 98 h 196"/>
                <a:gd name="T4" fmla="*/ 98 w 196"/>
                <a:gd name="T5" fmla="*/ 183 h 196"/>
                <a:gd name="T6" fmla="*/ 13 w 196"/>
                <a:gd name="T7" fmla="*/ 98 h 196"/>
                <a:gd name="T8" fmla="*/ 98 w 196"/>
                <a:gd name="T9" fmla="*/ 13 h 196"/>
                <a:gd name="T10" fmla="*/ 98 w 196"/>
                <a:gd name="T11" fmla="*/ 0 h 196"/>
                <a:gd name="T12" fmla="*/ 0 w 196"/>
                <a:gd name="T13" fmla="*/ 98 h 196"/>
                <a:gd name="T14" fmla="*/ 98 w 196"/>
                <a:gd name="T15" fmla="*/ 196 h 196"/>
                <a:gd name="T16" fmla="*/ 196 w 196"/>
                <a:gd name="T17" fmla="*/ 98 h 196"/>
                <a:gd name="T18" fmla="*/ 98 w 196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6">
                  <a:moveTo>
                    <a:pt x="98" y="13"/>
                  </a:moveTo>
                  <a:cubicBezTo>
                    <a:pt x="145" y="13"/>
                    <a:pt x="183" y="51"/>
                    <a:pt x="183" y="98"/>
                  </a:cubicBezTo>
                  <a:cubicBezTo>
                    <a:pt x="183" y="145"/>
                    <a:pt x="145" y="183"/>
                    <a:pt x="98" y="183"/>
                  </a:cubicBezTo>
                  <a:cubicBezTo>
                    <a:pt x="51" y="183"/>
                    <a:pt x="13" y="145"/>
                    <a:pt x="13" y="98"/>
                  </a:cubicBezTo>
                  <a:cubicBezTo>
                    <a:pt x="13" y="51"/>
                    <a:pt x="51" y="13"/>
                    <a:pt x="98" y="13"/>
                  </a:cubicBezTo>
                  <a:moveTo>
                    <a:pt x="98" y="0"/>
                  </a:moveTo>
                  <a:cubicBezTo>
                    <a:pt x="44" y="0"/>
                    <a:pt x="0" y="44"/>
                    <a:pt x="0" y="98"/>
                  </a:cubicBezTo>
                  <a:cubicBezTo>
                    <a:pt x="0" y="152"/>
                    <a:pt x="44" y="196"/>
                    <a:pt x="98" y="196"/>
                  </a:cubicBezTo>
                  <a:cubicBezTo>
                    <a:pt x="152" y="196"/>
                    <a:pt x="196" y="152"/>
                    <a:pt x="196" y="98"/>
                  </a:cubicBezTo>
                  <a:cubicBezTo>
                    <a:pt x="196" y="44"/>
                    <a:pt x="152" y="0"/>
                    <a:pt x="9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b="1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99F7E21F-ED0E-2F41-1FB1-0DF93460A17C}"/>
              </a:ext>
            </a:extLst>
          </p:cNvPr>
          <p:cNvSpPr txBox="1">
            <a:spLocks/>
          </p:cNvSpPr>
          <p:nvPr/>
        </p:nvSpPr>
        <p:spPr>
          <a:xfrm>
            <a:off x="2425608" y="4355728"/>
            <a:ext cx="2282577" cy="138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El uso de la IA en auditoría implica la implementación de herramientas y soluciones tecnológicas para automatizar tareas, optimizar procesos y aumentar la precisión en la recolección y el análisis de los datos financieros y no financieros.</a:t>
            </a:r>
            <a:endParaRPr lang="en-US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8BDE977-462E-A094-0241-CCF48D801656}"/>
              </a:ext>
            </a:extLst>
          </p:cNvPr>
          <p:cNvCxnSpPr>
            <a:cxnSpLocks/>
            <a:stCxn id="22" idx="11"/>
          </p:cNvCxnSpPr>
          <p:nvPr/>
        </p:nvCxnSpPr>
        <p:spPr>
          <a:xfrm>
            <a:off x="2186096" y="3891603"/>
            <a:ext cx="3655905" cy="4122"/>
          </a:xfrm>
          <a:prstGeom prst="line">
            <a:avLst/>
          </a:prstGeom>
          <a:ln w="12700">
            <a:solidFill>
              <a:srgbClr val="4FB5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aphic 4">
            <a:extLst>
              <a:ext uri="{FF2B5EF4-FFF2-40B4-BE49-F238E27FC236}">
                <a16:creationId xmlns:a16="http://schemas.microsoft.com/office/drawing/2014/main" id="{506AB078-FACD-D014-0AFC-A4B8140914EE}"/>
              </a:ext>
            </a:extLst>
          </p:cNvPr>
          <p:cNvGrpSpPr>
            <a:grpSpLocks noChangeAspect="1"/>
          </p:cNvGrpSpPr>
          <p:nvPr/>
        </p:nvGrpSpPr>
        <p:grpSpPr>
          <a:xfrm>
            <a:off x="4967098" y="4353971"/>
            <a:ext cx="569855" cy="569323"/>
            <a:chOff x="1515054" y="4308712"/>
            <a:chExt cx="362309" cy="361971"/>
          </a:xfrm>
          <a:solidFill>
            <a:srgbClr val="43B02A"/>
          </a:solidFill>
        </p:grpSpPr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F62614F4-139B-4FA8-1D67-F633D9BAE4FF}"/>
                </a:ext>
              </a:extLst>
            </p:cNvPr>
            <p:cNvSpPr/>
            <p:nvPr/>
          </p:nvSpPr>
          <p:spPr>
            <a:xfrm>
              <a:off x="1515054" y="4308712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5 w 362309"/>
                <a:gd name="connsiteY5" fmla="*/ 0 h 361971"/>
                <a:gd name="connsiteX6" fmla="*/ 180835 w 362309"/>
                <a:gd name="connsiteY6" fmla="*/ 0 h 361971"/>
                <a:gd name="connsiteX7" fmla="*/ 180835 w 362309"/>
                <a:gd name="connsiteY7" fmla="*/ 349204 h 361971"/>
                <a:gd name="connsiteX8" fmla="*/ 12780 w 362309"/>
                <a:gd name="connsiteY8" fmla="*/ 180667 h 361971"/>
                <a:gd name="connsiteX9" fmla="*/ 180835 w 362309"/>
                <a:gd name="connsiteY9" fmla="*/ 12768 h 361971"/>
                <a:gd name="connsiteX10" fmla="*/ 349529 w 362309"/>
                <a:gd name="connsiteY10" fmla="*/ 181305 h 361971"/>
                <a:gd name="connsiteX11" fmla="*/ 349529 w 362309"/>
                <a:gd name="connsiteY11" fmla="*/ 181305 h 361971"/>
                <a:gd name="connsiteX12" fmla="*/ 180835 w 362309"/>
                <a:gd name="connsiteY12" fmla="*/ 349204 h 361971"/>
                <a:gd name="connsiteX13" fmla="*/ 180835 w 362309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0667"/>
                  </a:cubicBezTo>
                  <a:cubicBezTo>
                    <a:pt x="362309" y="180667"/>
                    <a:pt x="362309" y="180667"/>
                    <a:pt x="362309" y="180667"/>
                  </a:cubicBezTo>
                  <a:cubicBezTo>
                    <a:pt x="36167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1305"/>
                  </a:cubicBezTo>
                  <a:lnTo>
                    <a:pt x="349529" y="181305"/>
                  </a:lnTo>
                  <a:cubicBezTo>
                    <a:pt x="348891" y="273873"/>
                    <a:pt x="273489" y="349204"/>
                    <a:pt x="180835" y="349204"/>
                  </a:cubicBezTo>
                  <a:lnTo>
                    <a:pt x="180835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08294EA4-A3E4-ED94-5993-C3187F371EEF}"/>
                </a:ext>
              </a:extLst>
            </p:cNvPr>
            <p:cNvSpPr/>
            <p:nvPr/>
          </p:nvSpPr>
          <p:spPr>
            <a:xfrm>
              <a:off x="1611542" y="4406387"/>
              <a:ext cx="166138" cy="165983"/>
            </a:xfrm>
            <a:custGeom>
              <a:avLst/>
              <a:gdLst>
                <a:gd name="connsiteX0" fmla="*/ 83069 w 166138"/>
                <a:gd name="connsiteY0" fmla="*/ 0 h 165983"/>
                <a:gd name="connsiteX1" fmla="*/ 0 w 166138"/>
                <a:gd name="connsiteY1" fmla="*/ 82992 h 165983"/>
                <a:gd name="connsiteX2" fmla="*/ 83069 w 166138"/>
                <a:gd name="connsiteY2" fmla="*/ 165984 h 165983"/>
                <a:gd name="connsiteX3" fmla="*/ 166138 w 166138"/>
                <a:gd name="connsiteY3" fmla="*/ 82992 h 165983"/>
                <a:gd name="connsiteX4" fmla="*/ 83069 w 166138"/>
                <a:gd name="connsiteY4" fmla="*/ 0 h 165983"/>
                <a:gd name="connsiteX5" fmla="*/ 83069 w 166138"/>
                <a:gd name="connsiteY5" fmla="*/ 0 h 165983"/>
                <a:gd name="connsiteX6" fmla="*/ 27477 w 166138"/>
                <a:gd name="connsiteY6" fmla="*/ 125765 h 165983"/>
                <a:gd name="connsiteX7" fmla="*/ 58787 w 166138"/>
                <a:gd name="connsiteY7" fmla="*/ 94483 h 165983"/>
                <a:gd name="connsiteX8" fmla="*/ 60065 w 166138"/>
                <a:gd name="connsiteY8" fmla="*/ 87461 h 165983"/>
                <a:gd name="connsiteX9" fmla="*/ 58787 w 166138"/>
                <a:gd name="connsiteY9" fmla="*/ 82992 h 165983"/>
                <a:gd name="connsiteX10" fmla="*/ 58787 w 166138"/>
                <a:gd name="connsiteY10" fmla="*/ 81715 h 165983"/>
                <a:gd name="connsiteX11" fmla="*/ 64538 w 166138"/>
                <a:gd name="connsiteY11" fmla="*/ 53626 h 165983"/>
                <a:gd name="connsiteX12" fmla="*/ 85625 w 166138"/>
                <a:gd name="connsiteY12" fmla="*/ 39581 h 165983"/>
                <a:gd name="connsiteX13" fmla="*/ 71567 w 166138"/>
                <a:gd name="connsiteY13" fmla="*/ 52987 h 165983"/>
                <a:gd name="connsiteX14" fmla="*/ 69650 w 166138"/>
                <a:gd name="connsiteY14" fmla="*/ 58733 h 165983"/>
                <a:gd name="connsiteX15" fmla="*/ 76040 w 166138"/>
                <a:gd name="connsiteY15" fmla="*/ 85546 h 165983"/>
                <a:gd name="connsiteX16" fmla="*/ 81152 w 166138"/>
                <a:gd name="connsiteY16" fmla="*/ 90653 h 165983"/>
                <a:gd name="connsiteX17" fmla="*/ 107990 w 166138"/>
                <a:gd name="connsiteY17" fmla="*/ 97037 h 165983"/>
                <a:gd name="connsiteX18" fmla="*/ 113741 w 166138"/>
                <a:gd name="connsiteY18" fmla="*/ 95121 h 165983"/>
                <a:gd name="connsiteX19" fmla="*/ 127160 w 166138"/>
                <a:gd name="connsiteY19" fmla="*/ 81715 h 165983"/>
                <a:gd name="connsiteX20" fmla="*/ 117575 w 166138"/>
                <a:gd name="connsiteY20" fmla="*/ 98952 h 165983"/>
                <a:gd name="connsiteX21" fmla="*/ 84347 w 166138"/>
                <a:gd name="connsiteY21" fmla="*/ 108528 h 165983"/>
                <a:gd name="connsiteX22" fmla="*/ 83708 w 166138"/>
                <a:gd name="connsiteY22" fmla="*/ 108528 h 165983"/>
                <a:gd name="connsiteX23" fmla="*/ 79235 w 166138"/>
                <a:gd name="connsiteY23" fmla="*/ 107251 h 165983"/>
                <a:gd name="connsiteX24" fmla="*/ 72206 w 166138"/>
                <a:gd name="connsiteY24" fmla="*/ 108528 h 165983"/>
                <a:gd name="connsiteX25" fmla="*/ 40896 w 166138"/>
                <a:gd name="connsiteY25" fmla="*/ 139809 h 165983"/>
                <a:gd name="connsiteX26" fmla="*/ 27477 w 166138"/>
                <a:gd name="connsiteY26" fmla="*/ 125765 h 165983"/>
                <a:gd name="connsiteX27" fmla="*/ 27477 w 166138"/>
                <a:gd name="connsiteY27" fmla="*/ 125765 h 165983"/>
                <a:gd name="connsiteX28" fmla="*/ 83069 w 166138"/>
                <a:gd name="connsiteY28" fmla="*/ 153216 h 165983"/>
                <a:gd name="connsiteX29" fmla="*/ 52397 w 166138"/>
                <a:gd name="connsiteY29" fmla="*/ 146193 h 165983"/>
                <a:gd name="connsiteX30" fmla="*/ 78596 w 166138"/>
                <a:gd name="connsiteY30" fmla="*/ 120019 h 165983"/>
                <a:gd name="connsiteX31" fmla="*/ 80513 w 166138"/>
                <a:gd name="connsiteY31" fmla="*/ 120657 h 165983"/>
                <a:gd name="connsiteX32" fmla="*/ 81152 w 166138"/>
                <a:gd name="connsiteY32" fmla="*/ 120657 h 165983"/>
                <a:gd name="connsiteX33" fmla="*/ 139301 w 166138"/>
                <a:gd name="connsiteY33" fmla="*/ 86184 h 165983"/>
                <a:gd name="connsiteX34" fmla="*/ 140579 w 166138"/>
                <a:gd name="connsiteY34" fmla="*/ 70862 h 165983"/>
                <a:gd name="connsiteX35" fmla="*/ 134828 w 166138"/>
                <a:gd name="connsiteY35" fmla="*/ 63202 h 165983"/>
                <a:gd name="connsiteX36" fmla="*/ 125243 w 166138"/>
                <a:gd name="connsiteY36" fmla="*/ 65117 h 165983"/>
                <a:gd name="connsiteX37" fmla="*/ 106712 w 166138"/>
                <a:gd name="connsiteY37" fmla="*/ 83630 h 165983"/>
                <a:gd name="connsiteX38" fmla="*/ 87542 w 166138"/>
                <a:gd name="connsiteY38" fmla="*/ 79162 h 165983"/>
                <a:gd name="connsiteX39" fmla="*/ 83069 w 166138"/>
                <a:gd name="connsiteY39" fmla="*/ 60010 h 165983"/>
                <a:gd name="connsiteX40" fmla="*/ 101600 w 166138"/>
                <a:gd name="connsiteY40" fmla="*/ 41496 h 165983"/>
                <a:gd name="connsiteX41" fmla="*/ 103517 w 166138"/>
                <a:gd name="connsiteY41" fmla="*/ 31920 h 165983"/>
                <a:gd name="connsiteX42" fmla="*/ 95849 w 166138"/>
                <a:gd name="connsiteY42" fmla="*/ 26175 h 165983"/>
                <a:gd name="connsiteX43" fmla="*/ 44730 w 166138"/>
                <a:gd name="connsiteY43" fmla="*/ 70862 h 165983"/>
                <a:gd name="connsiteX44" fmla="*/ 46008 w 166138"/>
                <a:gd name="connsiteY44" fmla="*/ 86184 h 165983"/>
                <a:gd name="connsiteX45" fmla="*/ 46647 w 166138"/>
                <a:gd name="connsiteY45" fmla="*/ 87461 h 165983"/>
                <a:gd name="connsiteX46" fmla="*/ 46647 w 166138"/>
                <a:gd name="connsiteY46" fmla="*/ 88738 h 165983"/>
                <a:gd name="connsiteX47" fmla="*/ 20448 w 166138"/>
                <a:gd name="connsiteY47" fmla="*/ 114912 h 165983"/>
                <a:gd name="connsiteX48" fmla="*/ 12780 w 166138"/>
                <a:gd name="connsiteY48" fmla="*/ 82992 h 165983"/>
                <a:gd name="connsiteX49" fmla="*/ 83069 w 166138"/>
                <a:gd name="connsiteY49" fmla="*/ 12768 h 165983"/>
                <a:gd name="connsiteX50" fmla="*/ 153359 w 166138"/>
                <a:gd name="connsiteY50" fmla="*/ 82992 h 165983"/>
                <a:gd name="connsiteX51" fmla="*/ 83069 w 166138"/>
                <a:gd name="connsiteY51" fmla="*/ 153216 h 165983"/>
                <a:gd name="connsiteX52" fmla="*/ 83069 w 166138"/>
                <a:gd name="connsiteY52" fmla="*/ 153216 h 165983"/>
                <a:gd name="connsiteX53" fmla="*/ 83069 w 166138"/>
                <a:gd name="connsiteY53" fmla="*/ 153216 h 165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66138" h="165983">
                  <a:moveTo>
                    <a:pt x="83069" y="0"/>
                  </a:moveTo>
                  <a:cubicBezTo>
                    <a:pt x="37062" y="0"/>
                    <a:pt x="0" y="37027"/>
                    <a:pt x="0" y="82992"/>
                  </a:cubicBezTo>
                  <a:cubicBezTo>
                    <a:pt x="0" y="128957"/>
                    <a:pt x="37062" y="165984"/>
                    <a:pt x="83069" y="165984"/>
                  </a:cubicBezTo>
                  <a:cubicBezTo>
                    <a:pt x="129077" y="165984"/>
                    <a:pt x="166138" y="128957"/>
                    <a:pt x="166138" y="82992"/>
                  </a:cubicBezTo>
                  <a:cubicBezTo>
                    <a:pt x="166138" y="37027"/>
                    <a:pt x="129077" y="0"/>
                    <a:pt x="83069" y="0"/>
                  </a:cubicBezTo>
                  <a:lnTo>
                    <a:pt x="83069" y="0"/>
                  </a:lnTo>
                  <a:close/>
                  <a:moveTo>
                    <a:pt x="27477" y="125765"/>
                  </a:moveTo>
                  <a:lnTo>
                    <a:pt x="58787" y="94483"/>
                  </a:lnTo>
                  <a:cubicBezTo>
                    <a:pt x="60705" y="92568"/>
                    <a:pt x="61343" y="90014"/>
                    <a:pt x="60065" y="87461"/>
                  </a:cubicBezTo>
                  <a:cubicBezTo>
                    <a:pt x="59426" y="86184"/>
                    <a:pt x="58787" y="84269"/>
                    <a:pt x="58787" y="82992"/>
                  </a:cubicBezTo>
                  <a:cubicBezTo>
                    <a:pt x="58787" y="82992"/>
                    <a:pt x="58787" y="82354"/>
                    <a:pt x="58787" y="81715"/>
                  </a:cubicBezTo>
                  <a:cubicBezTo>
                    <a:pt x="56871" y="72139"/>
                    <a:pt x="58787" y="61925"/>
                    <a:pt x="64538" y="53626"/>
                  </a:cubicBezTo>
                  <a:cubicBezTo>
                    <a:pt x="69650" y="46603"/>
                    <a:pt x="77318" y="41496"/>
                    <a:pt x="85625" y="39581"/>
                  </a:cubicBezTo>
                  <a:lnTo>
                    <a:pt x="71567" y="52987"/>
                  </a:lnTo>
                  <a:cubicBezTo>
                    <a:pt x="70289" y="54264"/>
                    <a:pt x="69650" y="56818"/>
                    <a:pt x="69650" y="58733"/>
                  </a:cubicBezTo>
                  <a:lnTo>
                    <a:pt x="76040" y="85546"/>
                  </a:lnTo>
                  <a:cubicBezTo>
                    <a:pt x="76679" y="88099"/>
                    <a:pt x="78596" y="90014"/>
                    <a:pt x="81152" y="90653"/>
                  </a:cubicBezTo>
                  <a:lnTo>
                    <a:pt x="107990" y="97037"/>
                  </a:lnTo>
                  <a:cubicBezTo>
                    <a:pt x="109907" y="97675"/>
                    <a:pt x="112463" y="97037"/>
                    <a:pt x="113741" y="95121"/>
                  </a:cubicBezTo>
                  <a:lnTo>
                    <a:pt x="127160" y="81715"/>
                  </a:lnTo>
                  <a:cubicBezTo>
                    <a:pt x="125882" y="88099"/>
                    <a:pt x="122687" y="94483"/>
                    <a:pt x="117575" y="98952"/>
                  </a:cubicBezTo>
                  <a:cubicBezTo>
                    <a:pt x="109268" y="107889"/>
                    <a:pt x="96488" y="111081"/>
                    <a:pt x="84347" y="108528"/>
                  </a:cubicBezTo>
                  <a:lnTo>
                    <a:pt x="83708" y="108528"/>
                  </a:lnTo>
                  <a:cubicBezTo>
                    <a:pt x="82430" y="107889"/>
                    <a:pt x="80513" y="107889"/>
                    <a:pt x="79235" y="107251"/>
                  </a:cubicBezTo>
                  <a:cubicBezTo>
                    <a:pt x="76679" y="105974"/>
                    <a:pt x="74123" y="106613"/>
                    <a:pt x="72206" y="108528"/>
                  </a:cubicBezTo>
                  <a:lnTo>
                    <a:pt x="40896" y="139809"/>
                  </a:lnTo>
                  <a:cubicBezTo>
                    <a:pt x="35784" y="135979"/>
                    <a:pt x="31311" y="130872"/>
                    <a:pt x="27477" y="125765"/>
                  </a:cubicBezTo>
                  <a:lnTo>
                    <a:pt x="27477" y="125765"/>
                  </a:lnTo>
                  <a:close/>
                  <a:moveTo>
                    <a:pt x="83069" y="153216"/>
                  </a:moveTo>
                  <a:cubicBezTo>
                    <a:pt x="72206" y="153216"/>
                    <a:pt x="61982" y="150662"/>
                    <a:pt x="52397" y="146193"/>
                  </a:cubicBezTo>
                  <a:lnTo>
                    <a:pt x="78596" y="120019"/>
                  </a:lnTo>
                  <a:lnTo>
                    <a:pt x="80513" y="120657"/>
                  </a:lnTo>
                  <a:lnTo>
                    <a:pt x="81152" y="120657"/>
                  </a:lnTo>
                  <a:cubicBezTo>
                    <a:pt x="106712" y="127041"/>
                    <a:pt x="132911" y="111720"/>
                    <a:pt x="139301" y="86184"/>
                  </a:cubicBezTo>
                  <a:cubicBezTo>
                    <a:pt x="140579" y="81077"/>
                    <a:pt x="141218" y="75970"/>
                    <a:pt x="140579" y="70862"/>
                  </a:cubicBezTo>
                  <a:cubicBezTo>
                    <a:pt x="140579" y="67670"/>
                    <a:pt x="138023" y="64478"/>
                    <a:pt x="134828" y="63202"/>
                  </a:cubicBezTo>
                  <a:cubicBezTo>
                    <a:pt x="131633" y="61925"/>
                    <a:pt x="127799" y="62563"/>
                    <a:pt x="125243" y="65117"/>
                  </a:cubicBezTo>
                  <a:lnTo>
                    <a:pt x="106712" y="83630"/>
                  </a:lnTo>
                  <a:lnTo>
                    <a:pt x="87542" y="79162"/>
                  </a:lnTo>
                  <a:lnTo>
                    <a:pt x="83069" y="60010"/>
                  </a:lnTo>
                  <a:lnTo>
                    <a:pt x="101600" y="41496"/>
                  </a:lnTo>
                  <a:cubicBezTo>
                    <a:pt x="104156" y="38943"/>
                    <a:pt x="104795" y="35751"/>
                    <a:pt x="103517" y="31920"/>
                  </a:cubicBezTo>
                  <a:cubicBezTo>
                    <a:pt x="102239" y="28728"/>
                    <a:pt x="99044" y="26175"/>
                    <a:pt x="95849" y="26175"/>
                  </a:cubicBezTo>
                  <a:cubicBezTo>
                    <a:pt x="69650" y="24259"/>
                    <a:pt x="46647" y="44050"/>
                    <a:pt x="44730" y="70862"/>
                  </a:cubicBezTo>
                  <a:cubicBezTo>
                    <a:pt x="44091" y="75970"/>
                    <a:pt x="44730" y="81077"/>
                    <a:pt x="46008" y="86184"/>
                  </a:cubicBezTo>
                  <a:cubicBezTo>
                    <a:pt x="46008" y="86822"/>
                    <a:pt x="46008" y="86822"/>
                    <a:pt x="46647" y="87461"/>
                  </a:cubicBezTo>
                  <a:lnTo>
                    <a:pt x="46647" y="88738"/>
                  </a:lnTo>
                  <a:lnTo>
                    <a:pt x="20448" y="114912"/>
                  </a:lnTo>
                  <a:cubicBezTo>
                    <a:pt x="15336" y="105336"/>
                    <a:pt x="12780" y="93845"/>
                    <a:pt x="12780" y="82992"/>
                  </a:cubicBezTo>
                  <a:cubicBezTo>
                    <a:pt x="12780" y="44050"/>
                    <a:pt x="44091" y="12768"/>
                    <a:pt x="83069" y="12768"/>
                  </a:cubicBezTo>
                  <a:cubicBezTo>
                    <a:pt x="122048" y="12768"/>
                    <a:pt x="153359" y="44050"/>
                    <a:pt x="153359" y="82992"/>
                  </a:cubicBezTo>
                  <a:cubicBezTo>
                    <a:pt x="153359" y="121934"/>
                    <a:pt x="122048" y="153216"/>
                    <a:pt x="83069" y="153216"/>
                  </a:cubicBezTo>
                  <a:cubicBezTo>
                    <a:pt x="83069" y="153216"/>
                    <a:pt x="83069" y="153216"/>
                    <a:pt x="83069" y="153216"/>
                  </a:cubicBezTo>
                  <a:lnTo>
                    <a:pt x="83069" y="15321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43F8BD93-1DA5-22D3-EF91-1B922B53E3F3}"/>
                </a:ext>
              </a:extLst>
            </p:cNvPr>
            <p:cNvSpPr/>
            <p:nvPr/>
          </p:nvSpPr>
          <p:spPr>
            <a:xfrm>
              <a:off x="1572321" y="4364131"/>
              <a:ext cx="247532" cy="250373"/>
            </a:xfrm>
            <a:custGeom>
              <a:avLst/>
              <a:gdLst>
                <a:gd name="connsiteX0" fmla="*/ 240503 w 247532"/>
                <a:gd name="connsiteY0" fmla="*/ 102903 h 250373"/>
                <a:gd name="connsiteX1" fmla="*/ 224529 w 247532"/>
                <a:gd name="connsiteY1" fmla="*/ 97158 h 250373"/>
                <a:gd name="connsiteX2" fmla="*/ 218778 w 247532"/>
                <a:gd name="connsiteY2" fmla="*/ 81198 h 250373"/>
                <a:gd name="connsiteX3" fmla="*/ 227724 w 247532"/>
                <a:gd name="connsiteY3" fmla="*/ 66515 h 250373"/>
                <a:gd name="connsiteX4" fmla="*/ 227085 w 247532"/>
                <a:gd name="connsiteY4" fmla="*/ 54385 h 250373"/>
                <a:gd name="connsiteX5" fmla="*/ 211110 w 247532"/>
                <a:gd name="connsiteY5" fmla="*/ 35233 h 250373"/>
                <a:gd name="connsiteX6" fmla="*/ 198969 w 247532"/>
                <a:gd name="connsiteY6" fmla="*/ 32041 h 250373"/>
                <a:gd name="connsiteX7" fmla="*/ 182994 w 247532"/>
                <a:gd name="connsiteY7" fmla="*/ 38425 h 250373"/>
                <a:gd name="connsiteX8" fmla="*/ 168297 w 247532"/>
                <a:gd name="connsiteY8" fmla="*/ 30126 h 250373"/>
                <a:gd name="connsiteX9" fmla="*/ 165741 w 247532"/>
                <a:gd name="connsiteY9" fmla="*/ 13527 h 250373"/>
                <a:gd name="connsiteX10" fmla="*/ 156795 w 247532"/>
                <a:gd name="connsiteY10" fmla="*/ 4590 h 250373"/>
                <a:gd name="connsiteX11" fmla="*/ 132513 w 247532"/>
                <a:gd name="connsiteY11" fmla="*/ 121 h 250373"/>
                <a:gd name="connsiteX12" fmla="*/ 121012 w 247532"/>
                <a:gd name="connsiteY12" fmla="*/ 5228 h 250373"/>
                <a:gd name="connsiteX13" fmla="*/ 112705 w 247532"/>
                <a:gd name="connsiteY13" fmla="*/ 19911 h 250373"/>
                <a:gd name="connsiteX14" fmla="*/ 96091 w 247532"/>
                <a:gd name="connsiteY14" fmla="*/ 23103 h 250373"/>
                <a:gd name="connsiteX15" fmla="*/ 83311 w 247532"/>
                <a:gd name="connsiteY15" fmla="*/ 11612 h 250373"/>
                <a:gd name="connsiteX16" fmla="*/ 71170 w 247532"/>
                <a:gd name="connsiteY16" fmla="*/ 10335 h 250373"/>
                <a:gd name="connsiteX17" fmla="*/ 49444 w 247532"/>
                <a:gd name="connsiteY17" fmla="*/ 22465 h 250373"/>
                <a:gd name="connsiteX18" fmla="*/ 44332 w 247532"/>
                <a:gd name="connsiteY18" fmla="*/ 33956 h 250373"/>
                <a:gd name="connsiteX19" fmla="*/ 47527 w 247532"/>
                <a:gd name="connsiteY19" fmla="*/ 50555 h 250373"/>
                <a:gd name="connsiteX20" fmla="*/ 36664 w 247532"/>
                <a:gd name="connsiteY20" fmla="*/ 63323 h 250373"/>
                <a:gd name="connsiteX21" fmla="*/ 19412 w 247532"/>
                <a:gd name="connsiteY21" fmla="*/ 63323 h 250373"/>
                <a:gd name="connsiteX22" fmla="*/ 9188 w 247532"/>
                <a:gd name="connsiteY22" fmla="*/ 70345 h 250373"/>
                <a:gd name="connsiteX23" fmla="*/ 881 w 247532"/>
                <a:gd name="connsiteY23" fmla="*/ 93327 h 250373"/>
                <a:gd name="connsiteX24" fmla="*/ 4076 w 247532"/>
                <a:gd name="connsiteY24" fmla="*/ 105457 h 250373"/>
                <a:gd name="connsiteX25" fmla="*/ 17495 w 247532"/>
                <a:gd name="connsiteY25" fmla="*/ 116309 h 250373"/>
                <a:gd name="connsiteX26" fmla="*/ 17495 w 247532"/>
                <a:gd name="connsiteY26" fmla="*/ 133546 h 250373"/>
                <a:gd name="connsiteX27" fmla="*/ 4076 w 247532"/>
                <a:gd name="connsiteY27" fmla="*/ 144399 h 250373"/>
                <a:gd name="connsiteX28" fmla="*/ 881 w 247532"/>
                <a:gd name="connsiteY28" fmla="*/ 156529 h 250373"/>
                <a:gd name="connsiteX29" fmla="*/ 9188 w 247532"/>
                <a:gd name="connsiteY29" fmla="*/ 179511 h 250373"/>
                <a:gd name="connsiteX30" fmla="*/ 19412 w 247532"/>
                <a:gd name="connsiteY30" fmla="*/ 186533 h 250373"/>
                <a:gd name="connsiteX31" fmla="*/ 36664 w 247532"/>
                <a:gd name="connsiteY31" fmla="*/ 186533 h 250373"/>
                <a:gd name="connsiteX32" fmla="*/ 47527 w 247532"/>
                <a:gd name="connsiteY32" fmla="*/ 199301 h 250373"/>
                <a:gd name="connsiteX33" fmla="*/ 44332 w 247532"/>
                <a:gd name="connsiteY33" fmla="*/ 215899 h 250373"/>
                <a:gd name="connsiteX34" fmla="*/ 49444 w 247532"/>
                <a:gd name="connsiteY34" fmla="*/ 227391 h 250373"/>
                <a:gd name="connsiteX35" fmla="*/ 71170 w 247532"/>
                <a:gd name="connsiteY35" fmla="*/ 239520 h 250373"/>
                <a:gd name="connsiteX36" fmla="*/ 83311 w 247532"/>
                <a:gd name="connsiteY36" fmla="*/ 238243 h 250373"/>
                <a:gd name="connsiteX37" fmla="*/ 96091 w 247532"/>
                <a:gd name="connsiteY37" fmla="*/ 226752 h 250373"/>
                <a:gd name="connsiteX38" fmla="*/ 112705 w 247532"/>
                <a:gd name="connsiteY38" fmla="*/ 229944 h 250373"/>
                <a:gd name="connsiteX39" fmla="*/ 121012 w 247532"/>
                <a:gd name="connsiteY39" fmla="*/ 244627 h 250373"/>
                <a:gd name="connsiteX40" fmla="*/ 130596 w 247532"/>
                <a:gd name="connsiteY40" fmla="*/ 250373 h 250373"/>
                <a:gd name="connsiteX41" fmla="*/ 132513 w 247532"/>
                <a:gd name="connsiteY41" fmla="*/ 250373 h 250373"/>
                <a:gd name="connsiteX42" fmla="*/ 156795 w 247532"/>
                <a:gd name="connsiteY42" fmla="*/ 245904 h 250373"/>
                <a:gd name="connsiteX43" fmla="*/ 165741 w 247532"/>
                <a:gd name="connsiteY43" fmla="*/ 236967 h 250373"/>
                <a:gd name="connsiteX44" fmla="*/ 168297 w 247532"/>
                <a:gd name="connsiteY44" fmla="*/ 219730 h 250373"/>
                <a:gd name="connsiteX45" fmla="*/ 182994 w 247532"/>
                <a:gd name="connsiteY45" fmla="*/ 211431 h 250373"/>
                <a:gd name="connsiteX46" fmla="*/ 198969 w 247532"/>
                <a:gd name="connsiteY46" fmla="*/ 217815 h 250373"/>
                <a:gd name="connsiteX47" fmla="*/ 211110 w 247532"/>
                <a:gd name="connsiteY47" fmla="*/ 214623 h 250373"/>
                <a:gd name="connsiteX48" fmla="*/ 227085 w 247532"/>
                <a:gd name="connsiteY48" fmla="*/ 195471 h 250373"/>
                <a:gd name="connsiteX49" fmla="*/ 227724 w 247532"/>
                <a:gd name="connsiteY49" fmla="*/ 182703 h 250373"/>
                <a:gd name="connsiteX50" fmla="*/ 218778 w 247532"/>
                <a:gd name="connsiteY50" fmla="*/ 168020 h 250373"/>
                <a:gd name="connsiteX51" fmla="*/ 224529 w 247532"/>
                <a:gd name="connsiteY51" fmla="*/ 152060 h 250373"/>
                <a:gd name="connsiteX52" fmla="*/ 240503 w 247532"/>
                <a:gd name="connsiteY52" fmla="*/ 146314 h 250373"/>
                <a:gd name="connsiteX53" fmla="*/ 247532 w 247532"/>
                <a:gd name="connsiteY53" fmla="*/ 136100 h 250373"/>
                <a:gd name="connsiteX54" fmla="*/ 247532 w 247532"/>
                <a:gd name="connsiteY54" fmla="*/ 111202 h 250373"/>
                <a:gd name="connsiteX55" fmla="*/ 240503 w 247532"/>
                <a:gd name="connsiteY55" fmla="*/ 102903 h 250373"/>
                <a:gd name="connsiteX56" fmla="*/ 234752 w 247532"/>
                <a:gd name="connsiteY56" fmla="*/ 136100 h 250373"/>
                <a:gd name="connsiteX57" fmla="*/ 216861 w 247532"/>
                <a:gd name="connsiteY57" fmla="*/ 141845 h 250373"/>
                <a:gd name="connsiteX58" fmla="*/ 213027 w 247532"/>
                <a:gd name="connsiteY58" fmla="*/ 145676 h 250373"/>
                <a:gd name="connsiteX59" fmla="*/ 205359 w 247532"/>
                <a:gd name="connsiteY59" fmla="*/ 167381 h 250373"/>
                <a:gd name="connsiteX60" fmla="*/ 205998 w 247532"/>
                <a:gd name="connsiteY60" fmla="*/ 173127 h 250373"/>
                <a:gd name="connsiteX61" fmla="*/ 215583 w 247532"/>
                <a:gd name="connsiteY61" fmla="*/ 189087 h 250373"/>
                <a:gd name="connsiteX62" fmla="*/ 201525 w 247532"/>
                <a:gd name="connsiteY62" fmla="*/ 205685 h 250373"/>
                <a:gd name="connsiteX63" fmla="*/ 184272 w 247532"/>
                <a:gd name="connsiteY63" fmla="*/ 198663 h 250373"/>
                <a:gd name="connsiteX64" fmla="*/ 178521 w 247532"/>
                <a:gd name="connsiteY64" fmla="*/ 199301 h 250373"/>
                <a:gd name="connsiteX65" fmla="*/ 158712 w 247532"/>
                <a:gd name="connsiteY65" fmla="*/ 210792 h 250373"/>
                <a:gd name="connsiteX66" fmla="*/ 155517 w 247532"/>
                <a:gd name="connsiteY66" fmla="*/ 215261 h 250373"/>
                <a:gd name="connsiteX67" fmla="*/ 152322 w 247532"/>
                <a:gd name="connsiteY67" fmla="*/ 233775 h 250373"/>
                <a:gd name="connsiteX68" fmla="*/ 130596 w 247532"/>
                <a:gd name="connsiteY68" fmla="*/ 237605 h 250373"/>
                <a:gd name="connsiteX69" fmla="*/ 121651 w 247532"/>
                <a:gd name="connsiteY69" fmla="*/ 221007 h 250373"/>
                <a:gd name="connsiteX70" fmla="*/ 117178 w 247532"/>
                <a:gd name="connsiteY70" fmla="*/ 217815 h 250373"/>
                <a:gd name="connsiteX71" fmla="*/ 94174 w 247532"/>
                <a:gd name="connsiteY71" fmla="*/ 213984 h 250373"/>
                <a:gd name="connsiteX72" fmla="*/ 92896 w 247532"/>
                <a:gd name="connsiteY72" fmla="*/ 213984 h 250373"/>
                <a:gd name="connsiteX73" fmla="*/ 88423 w 247532"/>
                <a:gd name="connsiteY73" fmla="*/ 215261 h 250373"/>
                <a:gd name="connsiteX74" fmla="*/ 74365 w 247532"/>
                <a:gd name="connsiteY74" fmla="*/ 227391 h 250373"/>
                <a:gd name="connsiteX75" fmla="*/ 55195 w 247532"/>
                <a:gd name="connsiteY75" fmla="*/ 216538 h 250373"/>
                <a:gd name="connsiteX76" fmla="*/ 59029 w 247532"/>
                <a:gd name="connsiteY76" fmla="*/ 198024 h 250373"/>
                <a:gd name="connsiteX77" fmla="*/ 57751 w 247532"/>
                <a:gd name="connsiteY77" fmla="*/ 192917 h 250373"/>
                <a:gd name="connsiteX78" fmla="*/ 43054 w 247532"/>
                <a:gd name="connsiteY78" fmla="*/ 175042 h 250373"/>
                <a:gd name="connsiteX79" fmla="*/ 37942 w 247532"/>
                <a:gd name="connsiteY79" fmla="*/ 172488 h 250373"/>
                <a:gd name="connsiteX80" fmla="*/ 19412 w 247532"/>
                <a:gd name="connsiteY80" fmla="*/ 173127 h 250373"/>
                <a:gd name="connsiteX81" fmla="*/ 12383 w 247532"/>
                <a:gd name="connsiteY81" fmla="*/ 153337 h 250373"/>
                <a:gd name="connsiteX82" fmla="*/ 27079 w 247532"/>
                <a:gd name="connsiteY82" fmla="*/ 141845 h 250373"/>
                <a:gd name="connsiteX83" fmla="*/ 29635 w 247532"/>
                <a:gd name="connsiteY83" fmla="*/ 136738 h 250373"/>
                <a:gd name="connsiteX84" fmla="*/ 29635 w 247532"/>
                <a:gd name="connsiteY84" fmla="*/ 113756 h 250373"/>
                <a:gd name="connsiteX85" fmla="*/ 27079 w 247532"/>
                <a:gd name="connsiteY85" fmla="*/ 108649 h 250373"/>
                <a:gd name="connsiteX86" fmla="*/ 12383 w 247532"/>
                <a:gd name="connsiteY86" fmla="*/ 97158 h 250373"/>
                <a:gd name="connsiteX87" fmla="*/ 20051 w 247532"/>
                <a:gd name="connsiteY87" fmla="*/ 76729 h 250373"/>
                <a:gd name="connsiteX88" fmla="*/ 38581 w 247532"/>
                <a:gd name="connsiteY88" fmla="*/ 77367 h 250373"/>
                <a:gd name="connsiteX89" fmla="*/ 43693 w 247532"/>
                <a:gd name="connsiteY89" fmla="*/ 74814 h 250373"/>
                <a:gd name="connsiteX90" fmla="*/ 58390 w 247532"/>
                <a:gd name="connsiteY90" fmla="*/ 56939 h 250373"/>
                <a:gd name="connsiteX91" fmla="*/ 59668 w 247532"/>
                <a:gd name="connsiteY91" fmla="*/ 51831 h 250373"/>
                <a:gd name="connsiteX92" fmla="*/ 55834 w 247532"/>
                <a:gd name="connsiteY92" fmla="*/ 33318 h 250373"/>
                <a:gd name="connsiteX93" fmla="*/ 75004 w 247532"/>
                <a:gd name="connsiteY93" fmla="*/ 22465 h 250373"/>
                <a:gd name="connsiteX94" fmla="*/ 89062 w 247532"/>
                <a:gd name="connsiteY94" fmla="*/ 34595 h 250373"/>
                <a:gd name="connsiteX95" fmla="*/ 94174 w 247532"/>
                <a:gd name="connsiteY95" fmla="*/ 35871 h 250373"/>
                <a:gd name="connsiteX96" fmla="*/ 117178 w 247532"/>
                <a:gd name="connsiteY96" fmla="*/ 32041 h 250373"/>
                <a:gd name="connsiteX97" fmla="*/ 121651 w 247532"/>
                <a:gd name="connsiteY97" fmla="*/ 28849 h 250373"/>
                <a:gd name="connsiteX98" fmla="*/ 130596 w 247532"/>
                <a:gd name="connsiteY98" fmla="*/ 12251 h 250373"/>
                <a:gd name="connsiteX99" fmla="*/ 152322 w 247532"/>
                <a:gd name="connsiteY99" fmla="*/ 16081 h 250373"/>
                <a:gd name="connsiteX100" fmla="*/ 155517 w 247532"/>
                <a:gd name="connsiteY100" fmla="*/ 34595 h 250373"/>
                <a:gd name="connsiteX101" fmla="*/ 158712 w 247532"/>
                <a:gd name="connsiteY101" fmla="*/ 39063 h 250373"/>
                <a:gd name="connsiteX102" fmla="*/ 178521 w 247532"/>
                <a:gd name="connsiteY102" fmla="*/ 50555 h 250373"/>
                <a:gd name="connsiteX103" fmla="*/ 184272 w 247532"/>
                <a:gd name="connsiteY103" fmla="*/ 51193 h 250373"/>
                <a:gd name="connsiteX104" fmla="*/ 201525 w 247532"/>
                <a:gd name="connsiteY104" fmla="*/ 44171 h 250373"/>
                <a:gd name="connsiteX105" fmla="*/ 215583 w 247532"/>
                <a:gd name="connsiteY105" fmla="*/ 60769 h 250373"/>
                <a:gd name="connsiteX106" fmla="*/ 205998 w 247532"/>
                <a:gd name="connsiteY106" fmla="*/ 76729 h 250373"/>
                <a:gd name="connsiteX107" fmla="*/ 205359 w 247532"/>
                <a:gd name="connsiteY107" fmla="*/ 82474 h 250373"/>
                <a:gd name="connsiteX108" fmla="*/ 213027 w 247532"/>
                <a:gd name="connsiteY108" fmla="*/ 104180 h 250373"/>
                <a:gd name="connsiteX109" fmla="*/ 216861 w 247532"/>
                <a:gd name="connsiteY109" fmla="*/ 108010 h 250373"/>
                <a:gd name="connsiteX110" fmla="*/ 234752 w 247532"/>
                <a:gd name="connsiteY110" fmla="*/ 114394 h 250373"/>
                <a:gd name="connsiteX111" fmla="*/ 234752 w 247532"/>
                <a:gd name="connsiteY111" fmla="*/ 136100 h 25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47532" h="250373">
                  <a:moveTo>
                    <a:pt x="240503" y="102903"/>
                  </a:moveTo>
                  <a:lnTo>
                    <a:pt x="224529" y="97158"/>
                  </a:lnTo>
                  <a:lnTo>
                    <a:pt x="218778" y="81198"/>
                  </a:lnTo>
                  <a:lnTo>
                    <a:pt x="227724" y="66515"/>
                  </a:lnTo>
                  <a:cubicBezTo>
                    <a:pt x="230280" y="62684"/>
                    <a:pt x="229640" y="57577"/>
                    <a:pt x="227085" y="54385"/>
                  </a:cubicBezTo>
                  <a:lnTo>
                    <a:pt x="211110" y="35233"/>
                  </a:lnTo>
                  <a:cubicBezTo>
                    <a:pt x="207915" y="32041"/>
                    <a:pt x="203442" y="30764"/>
                    <a:pt x="198969" y="32041"/>
                  </a:cubicBezTo>
                  <a:lnTo>
                    <a:pt x="182994" y="38425"/>
                  </a:lnTo>
                  <a:lnTo>
                    <a:pt x="168297" y="30126"/>
                  </a:lnTo>
                  <a:lnTo>
                    <a:pt x="165741" y="13527"/>
                  </a:lnTo>
                  <a:cubicBezTo>
                    <a:pt x="165102" y="9059"/>
                    <a:pt x="161268" y="5228"/>
                    <a:pt x="156795" y="4590"/>
                  </a:cubicBezTo>
                  <a:lnTo>
                    <a:pt x="132513" y="121"/>
                  </a:lnTo>
                  <a:cubicBezTo>
                    <a:pt x="128041" y="-517"/>
                    <a:pt x="123567" y="1398"/>
                    <a:pt x="121012" y="5228"/>
                  </a:cubicBezTo>
                  <a:lnTo>
                    <a:pt x="112705" y="19911"/>
                  </a:lnTo>
                  <a:lnTo>
                    <a:pt x="96091" y="23103"/>
                  </a:lnTo>
                  <a:lnTo>
                    <a:pt x="83311" y="11612"/>
                  </a:lnTo>
                  <a:cubicBezTo>
                    <a:pt x="80116" y="8420"/>
                    <a:pt x="75004" y="8420"/>
                    <a:pt x="71170" y="10335"/>
                  </a:cubicBezTo>
                  <a:lnTo>
                    <a:pt x="49444" y="22465"/>
                  </a:lnTo>
                  <a:cubicBezTo>
                    <a:pt x="45610" y="25019"/>
                    <a:pt x="43693" y="29487"/>
                    <a:pt x="44332" y="33956"/>
                  </a:cubicBezTo>
                  <a:lnTo>
                    <a:pt x="47527" y="50555"/>
                  </a:lnTo>
                  <a:lnTo>
                    <a:pt x="36664" y="63323"/>
                  </a:lnTo>
                  <a:lnTo>
                    <a:pt x="19412" y="63323"/>
                  </a:lnTo>
                  <a:cubicBezTo>
                    <a:pt x="14939" y="63323"/>
                    <a:pt x="10466" y="65876"/>
                    <a:pt x="9188" y="70345"/>
                  </a:cubicBezTo>
                  <a:lnTo>
                    <a:pt x="881" y="93327"/>
                  </a:lnTo>
                  <a:cubicBezTo>
                    <a:pt x="-1036" y="97796"/>
                    <a:pt x="881" y="102265"/>
                    <a:pt x="4076" y="105457"/>
                  </a:cubicBezTo>
                  <a:lnTo>
                    <a:pt x="17495" y="116309"/>
                  </a:lnTo>
                  <a:lnTo>
                    <a:pt x="17495" y="133546"/>
                  </a:lnTo>
                  <a:lnTo>
                    <a:pt x="4076" y="144399"/>
                  </a:lnTo>
                  <a:cubicBezTo>
                    <a:pt x="242" y="146953"/>
                    <a:pt x="-1036" y="152060"/>
                    <a:pt x="881" y="156529"/>
                  </a:cubicBezTo>
                  <a:lnTo>
                    <a:pt x="9188" y="179511"/>
                  </a:lnTo>
                  <a:cubicBezTo>
                    <a:pt x="11105" y="183980"/>
                    <a:pt x="14939" y="186533"/>
                    <a:pt x="19412" y="186533"/>
                  </a:cubicBezTo>
                  <a:lnTo>
                    <a:pt x="36664" y="186533"/>
                  </a:lnTo>
                  <a:lnTo>
                    <a:pt x="47527" y="199301"/>
                  </a:lnTo>
                  <a:lnTo>
                    <a:pt x="44332" y="215899"/>
                  </a:lnTo>
                  <a:cubicBezTo>
                    <a:pt x="43693" y="220368"/>
                    <a:pt x="45610" y="224837"/>
                    <a:pt x="49444" y="227391"/>
                  </a:cubicBezTo>
                  <a:lnTo>
                    <a:pt x="71170" y="239520"/>
                  </a:lnTo>
                  <a:cubicBezTo>
                    <a:pt x="75004" y="242074"/>
                    <a:pt x="80116" y="241435"/>
                    <a:pt x="83311" y="238243"/>
                  </a:cubicBezTo>
                  <a:lnTo>
                    <a:pt x="96091" y="226752"/>
                  </a:lnTo>
                  <a:lnTo>
                    <a:pt x="112705" y="229944"/>
                  </a:lnTo>
                  <a:lnTo>
                    <a:pt x="121012" y="244627"/>
                  </a:lnTo>
                  <a:cubicBezTo>
                    <a:pt x="122928" y="247819"/>
                    <a:pt x="126762" y="250373"/>
                    <a:pt x="130596" y="250373"/>
                  </a:cubicBezTo>
                  <a:lnTo>
                    <a:pt x="132513" y="250373"/>
                  </a:lnTo>
                  <a:lnTo>
                    <a:pt x="156795" y="245904"/>
                  </a:lnTo>
                  <a:cubicBezTo>
                    <a:pt x="161268" y="245266"/>
                    <a:pt x="165102" y="241435"/>
                    <a:pt x="165741" y="236967"/>
                  </a:cubicBezTo>
                  <a:lnTo>
                    <a:pt x="168297" y="219730"/>
                  </a:lnTo>
                  <a:lnTo>
                    <a:pt x="182994" y="211431"/>
                  </a:lnTo>
                  <a:lnTo>
                    <a:pt x="198969" y="217815"/>
                  </a:lnTo>
                  <a:cubicBezTo>
                    <a:pt x="203442" y="219730"/>
                    <a:pt x="207915" y="218453"/>
                    <a:pt x="211110" y="214623"/>
                  </a:cubicBezTo>
                  <a:lnTo>
                    <a:pt x="227085" y="195471"/>
                  </a:lnTo>
                  <a:cubicBezTo>
                    <a:pt x="230280" y="191640"/>
                    <a:pt x="230280" y="186533"/>
                    <a:pt x="227724" y="182703"/>
                  </a:cubicBezTo>
                  <a:lnTo>
                    <a:pt x="218778" y="168020"/>
                  </a:lnTo>
                  <a:lnTo>
                    <a:pt x="224529" y="152060"/>
                  </a:lnTo>
                  <a:lnTo>
                    <a:pt x="240503" y="146314"/>
                  </a:lnTo>
                  <a:cubicBezTo>
                    <a:pt x="244976" y="145037"/>
                    <a:pt x="247532" y="140569"/>
                    <a:pt x="247532" y="136100"/>
                  </a:cubicBezTo>
                  <a:lnTo>
                    <a:pt x="247532" y="111202"/>
                  </a:lnTo>
                  <a:cubicBezTo>
                    <a:pt x="247532" y="108649"/>
                    <a:pt x="244337" y="104180"/>
                    <a:pt x="240503" y="102903"/>
                  </a:cubicBezTo>
                  <a:close/>
                  <a:moveTo>
                    <a:pt x="234752" y="136100"/>
                  </a:moveTo>
                  <a:lnTo>
                    <a:pt x="216861" y="141845"/>
                  </a:lnTo>
                  <a:cubicBezTo>
                    <a:pt x="214944" y="142484"/>
                    <a:pt x="213666" y="143761"/>
                    <a:pt x="213027" y="145676"/>
                  </a:cubicBezTo>
                  <a:lnTo>
                    <a:pt x="205359" y="167381"/>
                  </a:lnTo>
                  <a:cubicBezTo>
                    <a:pt x="204720" y="169296"/>
                    <a:pt x="204720" y="171212"/>
                    <a:pt x="205998" y="173127"/>
                  </a:cubicBezTo>
                  <a:lnTo>
                    <a:pt x="215583" y="189087"/>
                  </a:lnTo>
                  <a:lnTo>
                    <a:pt x="201525" y="205685"/>
                  </a:lnTo>
                  <a:lnTo>
                    <a:pt x="184272" y="198663"/>
                  </a:lnTo>
                  <a:cubicBezTo>
                    <a:pt x="182355" y="198024"/>
                    <a:pt x="180438" y="198024"/>
                    <a:pt x="178521" y="199301"/>
                  </a:cubicBezTo>
                  <a:lnTo>
                    <a:pt x="158712" y="210792"/>
                  </a:lnTo>
                  <a:cubicBezTo>
                    <a:pt x="156795" y="212069"/>
                    <a:pt x="156156" y="213346"/>
                    <a:pt x="155517" y="215261"/>
                  </a:cubicBezTo>
                  <a:lnTo>
                    <a:pt x="152322" y="233775"/>
                  </a:lnTo>
                  <a:lnTo>
                    <a:pt x="130596" y="237605"/>
                  </a:lnTo>
                  <a:lnTo>
                    <a:pt x="121651" y="221007"/>
                  </a:lnTo>
                  <a:cubicBezTo>
                    <a:pt x="121012" y="219091"/>
                    <a:pt x="119095" y="218453"/>
                    <a:pt x="117178" y="217815"/>
                  </a:cubicBezTo>
                  <a:lnTo>
                    <a:pt x="94174" y="213984"/>
                  </a:lnTo>
                  <a:lnTo>
                    <a:pt x="92896" y="213984"/>
                  </a:lnTo>
                  <a:cubicBezTo>
                    <a:pt x="91618" y="213984"/>
                    <a:pt x="89701" y="214623"/>
                    <a:pt x="88423" y="215261"/>
                  </a:cubicBezTo>
                  <a:lnTo>
                    <a:pt x="74365" y="227391"/>
                  </a:lnTo>
                  <a:lnTo>
                    <a:pt x="55195" y="216538"/>
                  </a:lnTo>
                  <a:lnTo>
                    <a:pt x="59029" y="198024"/>
                  </a:lnTo>
                  <a:cubicBezTo>
                    <a:pt x="59668" y="196109"/>
                    <a:pt x="59029" y="194194"/>
                    <a:pt x="57751" y="192917"/>
                  </a:cubicBezTo>
                  <a:lnTo>
                    <a:pt x="43054" y="175042"/>
                  </a:lnTo>
                  <a:cubicBezTo>
                    <a:pt x="41776" y="173765"/>
                    <a:pt x="39859" y="172488"/>
                    <a:pt x="37942" y="172488"/>
                  </a:cubicBezTo>
                  <a:lnTo>
                    <a:pt x="19412" y="173127"/>
                  </a:lnTo>
                  <a:lnTo>
                    <a:pt x="12383" y="153337"/>
                  </a:lnTo>
                  <a:lnTo>
                    <a:pt x="27079" y="141845"/>
                  </a:lnTo>
                  <a:cubicBezTo>
                    <a:pt x="28357" y="140569"/>
                    <a:pt x="29635" y="138653"/>
                    <a:pt x="29635" y="136738"/>
                  </a:cubicBezTo>
                  <a:lnTo>
                    <a:pt x="29635" y="113756"/>
                  </a:lnTo>
                  <a:cubicBezTo>
                    <a:pt x="29635" y="111841"/>
                    <a:pt x="28997" y="109926"/>
                    <a:pt x="27079" y="108649"/>
                  </a:cubicBezTo>
                  <a:lnTo>
                    <a:pt x="12383" y="97158"/>
                  </a:lnTo>
                  <a:lnTo>
                    <a:pt x="20051" y="76729"/>
                  </a:lnTo>
                  <a:lnTo>
                    <a:pt x="38581" y="77367"/>
                  </a:lnTo>
                  <a:cubicBezTo>
                    <a:pt x="40498" y="77367"/>
                    <a:pt x="42415" y="76729"/>
                    <a:pt x="43693" y="74814"/>
                  </a:cubicBezTo>
                  <a:lnTo>
                    <a:pt x="58390" y="56939"/>
                  </a:lnTo>
                  <a:cubicBezTo>
                    <a:pt x="59668" y="55662"/>
                    <a:pt x="60307" y="53747"/>
                    <a:pt x="59668" y="51831"/>
                  </a:cubicBezTo>
                  <a:lnTo>
                    <a:pt x="55834" y="33318"/>
                  </a:lnTo>
                  <a:lnTo>
                    <a:pt x="75004" y="22465"/>
                  </a:lnTo>
                  <a:lnTo>
                    <a:pt x="89062" y="34595"/>
                  </a:lnTo>
                  <a:cubicBezTo>
                    <a:pt x="90340" y="35871"/>
                    <a:pt x="92257" y="36510"/>
                    <a:pt x="94174" y="35871"/>
                  </a:cubicBezTo>
                  <a:lnTo>
                    <a:pt x="117178" y="32041"/>
                  </a:lnTo>
                  <a:cubicBezTo>
                    <a:pt x="119095" y="31403"/>
                    <a:pt x="121012" y="30764"/>
                    <a:pt x="121651" y="28849"/>
                  </a:cubicBezTo>
                  <a:lnTo>
                    <a:pt x="130596" y="12251"/>
                  </a:lnTo>
                  <a:lnTo>
                    <a:pt x="152322" y="16081"/>
                  </a:lnTo>
                  <a:lnTo>
                    <a:pt x="155517" y="34595"/>
                  </a:lnTo>
                  <a:cubicBezTo>
                    <a:pt x="155517" y="36510"/>
                    <a:pt x="156795" y="38425"/>
                    <a:pt x="158712" y="39063"/>
                  </a:cubicBezTo>
                  <a:lnTo>
                    <a:pt x="178521" y="50555"/>
                  </a:lnTo>
                  <a:cubicBezTo>
                    <a:pt x="180438" y="51831"/>
                    <a:pt x="182355" y="51831"/>
                    <a:pt x="184272" y="51193"/>
                  </a:cubicBezTo>
                  <a:lnTo>
                    <a:pt x="201525" y="44171"/>
                  </a:lnTo>
                  <a:lnTo>
                    <a:pt x="215583" y="60769"/>
                  </a:lnTo>
                  <a:lnTo>
                    <a:pt x="205998" y="76729"/>
                  </a:lnTo>
                  <a:cubicBezTo>
                    <a:pt x="204720" y="78644"/>
                    <a:pt x="204720" y="80559"/>
                    <a:pt x="205359" y="82474"/>
                  </a:cubicBezTo>
                  <a:lnTo>
                    <a:pt x="213027" y="104180"/>
                  </a:lnTo>
                  <a:cubicBezTo>
                    <a:pt x="213666" y="106095"/>
                    <a:pt x="214944" y="107372"/>
                    <a:pt x="216861" y="108010"/>
                  </a:cubicBezTo>
                  <a:lnTo>
                    <a:pt x="234752" y="114394"/>
                  </a:lnTo>
                  <a:lnTo>
                    <a:pt x="234752" y="1361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7" name="Graphic 4">
            <a:extLst>
              <a:ext uri="{FF2B5EF4-FFF2-40B4-BE49-F238E27FC236}">
                <a16:creationId xmlns:a16="http://schemas.microsoft.com/office/drawing/2014/main" id="{81FC3A7C-9EF4-1412-61A2-F0F8BB5B2186}"/>
              </a:ext>
            </a:extLst>
          </p:cNvPr>
          <p:cNvGrpSpPr>
            <a:grpSpLocks noChangeAspect="1"/>
          </p:cNvGrpSpPr>
          <p:nvPr/>
        </p:nvGrpSpPr>
        <p:grpSpPr>
          <a:xfrm>
            <a:off x="2324100" y="2753376"/>
            <a:ext cx="569855" cy="569323"/>
            <a:chOff x="1515054" y="1402723"/>
            <a:chExt cx="362309" cy="361971"/>
          </a:xfrm>
          <a:solidFill>
            <a:srgbClr val="43B02A"/>
          </a:solidFill>
        </p:grpSpPr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052EAF09-6979-6257-21F0-8EC0F9E9E2B6}"/>
                </a:ext>
              </a:extLst>
            </p:cNvPr>
            <p:cNvSpPr/>
            <p:nvPr/>
          </p:nvSpPr>
          <p:spPr>
            <a:xfrm>
              <a:off x="15150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180835 w 362309"/>
                <a:gd name="connsiteY6" fmla="*/ 0 h 361971"/>
                <a:gd name="connsiteX7" fmla="*/ 180835 w 362309"/>
                <a:gd name="connsiteY7" fmla="*/ 348565 h 361971"/>
                <a:gd name="connsiteX8" fmla="*/ 12780 w 362309"/>
                <a:gd name="connsiteY8" fmla="*/ 180028 h 361971"/>
                <a:gd name="connsiteX9" fmla="*/ 180835 w 362309"/>
                <a:gd name="connsiteY9" fmla="*/ 12130 h 361971"/>
                <a:gd name="connsiteX10" fmla="*/ 349529 w 362309"/>
                <a:gd name="connsiteY10" fmla="*/ 180028 h 361971"/>
                <a:gd name="connsiteX11" fmla="*/ 180835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8181" y="12130"/>
                    <a:pt x="180835" y="12130"/>
                  </a:cubicBezTo>
                  <a:cubicBezTo>
                    <a:pt x="274128" y="12130"/>
                    <a:pt x="349529" y="87461"/>
                    <a:pt x="349529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4D0690C1-5824-F225-820B-804EA8AFAEF5}"/>
                </a:ext>
              </a:extLst>
            </p:cNvPr>
            <p:cNvSpPr/>
            <p:nvPr/>
          </p:nvSpPr>
          <p:spPr>
            <a:xfrm>
              <a:off x="1579592" y="1458902"/>
              <a:ext cx="232036" cy="222800"/>
            </a:xfrm>
            <a:custGeom>
              <a:avLst/>
              <a:gdLst>
                <a:gd name="connsiteX0" fmla="*/ 225565 w 232036"/>
                <a:gd name="connsiteY0" fmla="*/ 194711 h 222800"/>
                <a:gd name="connsiteX1" fmla="*/ 219175 w 232036"/>
                <a:gd name="connsiteY1" fmla="*/ 194711 h 222800"/>
                <a:gd name="connsiteX2" fmla="*/ 219175 w 232036"/>
                <a:gd name="connsiteY2" fmla="*/ 74054 h 222800"/>
                <a:gd name="connsiteX3" fmla="*/ 200644 w 232036"/>
                <a:gd name="connsiteY3" fmla="*/ 55541 h 222800"/>
                <a:gd name="connsiteX4" fmla="*/ 200644 w 232036"/>
                <a:gd name="connsiteY4" fmla="*/ 55541 h 222800"/>
                <a:gd name="connsiteX5" fmla="*/ 189781 w 232036"/>
                <a:gd name="connsiteY5" fmla="*/ 55541 h 222800"/>
                <a:gd name="connsiteX6" fmla="*/ 178279 w 232036"/>
                <a:gd name="connsiteY6" fmla="*/ 3830 h 222800"/>
                <a:gd name="connsiteX7" fmla="*/ 171889 w 232036"/>
                <a:gd name="connsiteY7" fmla="*/ 0 h 222800"/>
                <a:gd name="connsiteX8" fmla="*/ 93932 w 232036"/>
                <a:gd name="connsiteY8" fmla="*/ 54902 h 222800"/>
                <a:gd name="connsiteX9" fmla="*/ 31311 w 232036"/>
                <a:gd name="connsiteY9" fmla="*/ 54902 h 222800"/>
                <a:gd name="connsiteX10" fmla="*/ 12780 w 232036"/>
                <a:gd name="connsiteY10" fmla="*/ 73416 h 222800"/>
                <a:gd name="connsiteX11" fmla="*/ 12780 w 232036"/>
                <a:gd name="connsiteY11" fmla="*/ 73416 h 222800"/>
                <a:gd name="connsiteX12" fmla="*/ 12780 w 232036"/>
                <a:gd name="connsiteY12" fmla="*/ 194073 h 222800"/>
                <a:gd name="connsiteX13" fmla="*/ 6390 w 232036"/>
                <a:gd name="connsiteY13" fmla="*/ 194073 h 222800"/>
                <a:gd name="connsiteX14" fmla="*/ 0 w 232036"/>
                <a:gd name="connsiteY14" fmla="*/ 200457 h 222800"/>
                <a:gd name="connsiteX15" fmla="*/ 22365 w 232036"/>
                <a:gd name="connsiteY15" fmla="*/ 222801 h 222800"/>
                <a:gd name="connsiteX16" fmla="*/ 209590 w 232036"/>
                <a:gd name="connsiteY16" fmla="*/ 222801 h 222800"/>
                <a:gd name="connsiteX17" fmla="*/ 231955 w 232036"/>
                <a:gd name="connsiteY17" fmla="*/ 200457 h 222800"/>
                <a:gd name="connsiteX18" fmla="*/ 225565 w 232036"/>
                <a:gd name="connsiteY18" fmla="*/ 194711 h 222800"/>
                <a:gd name="connsiteX19" fmla="*/ 225565 w 232036"/>
                <a:gd name="connsiteY19" fmla="*/ 194711 h 222800"/>
                <a:gd name="connsiteX20" fmla="*/ 168694 w 232036"/>
                <a:gd name="connsiteY20" fmla="*/ 13406 h 222800"/>
                <a:gd name="connsiteX21" fmla="*/ 162304 w 232036"/>
                <a:gd name="connsiteY21" fmla="*/ 118104 h 222800"/>
                <a:gd name="connsiteX22" fmla="*/ 162304 w 232036"/>
                <a:gd name="connsiteY22" fmla="*/ 123849 h 222800"/>
                <a:gd name="connsiteX23" fmla="*/ 159110 w 232036"/>
                <a:gd name="connsiteY23" fmla="*/ 171729 h 222800"/>
                <a:gd name="connsiteX24" fmla="*/ 125882 w 232036"/>
                <a:gd name="connsiteY24" fmla="*/ 156408 h 222800"/>
                <a:gd name="connsiteX25" fmla="*/ 123326 w 232036"/>
                <a:gd name="connsiteY25" fmla="*/ 155769 h 222800"/>
                <a:gd name="connsiteX26" fmla="*/ 118214 w 232036"/>
                <a:gd name="connsiteY26" fmla="*/ 158323 h 222800"/>
                <a:gd name="connsiteX27" fmla="*/ 95849 w 232036"/>
                <a:gd name="connsiteY27" fmla="*/ 165345 h 222800"/>
                <a:gd name="connsiteX28" fmla="*/ 86264 w 232036"/>
                <a:gd name="connsiteY28" fmla="*/ 141724 h 222800"/>
                <a:gd name="connsiteX29" fmla="*/ 82430 w 232036"/>
                <a:gd name="connsiteY29" fmla="*/ 134702 h 222800"/>
                <a:gd name="connsiteX30" fmla="*/ 49842 w 232036"/>
                <a:gd name="connsiteY30" fmla="*/ 119381 h 222800"/>
                <a:gd name="connsiteX31" fmla="*/ 84986 w 232036"/>
                <a:gd name="connsiteY31" fmla="*/ 89376 h 222800"/>
                <a:gd name="connsiteX32" fmla="*/ 90737 w 232036"/>
                <a:gd name="connsiteY32" fmla="*/ 85545 h 222800"/>
                <a:gd name="connsiteX33" fmla="*/ 100322 w 232036"/>
                <a:gd name="connsiteY33" fmla="*/ 67032 h 222800"/>
                <a:gd name="connsiteX34" fmla="*/ 102878 w 232036"/>
                <a:gd name="connsiteY34" fmla="*/ 63201 h 222800"/>
                <a:gd name="connsiteX35" fmla="*/ 168694 w 232036"/>
                <a:gd name="connsiteY35" fmla="*/ 13406 h 222800"/>
                <a:gd name="connsiteX36" fmla="*/ 25560 w 232036"/>
                <a:gd name="connsiteY36" fmla="*/ 73416 h 222800"/>
                <a:gd name="connsiteX37" fmla="*/ 31311 w 232036"/>
                <a:gd name="connsiteY37" fmla="*/ 67670 h 222800"/>
                <a:gd name="connsiteX38" fmla="*/ 31311 w 232036"/>
                <a:gd name="connsiteY38" fmla="*/ 67670 h 222800"/>
                <a:gd name="connsiteX39" fmla="*/ 86264 w 232036"/>
                <a:gd name="connsiteY39" fmla="*/ 67670 h 222800"/>
                <a:gd name="connsiteX40" fmla="*/ 82430 w 232036"/>
                <a:gd name="connsiteY40" fmla="*/ 75969 h 222800"/>
                <a:gd name="connsiteX41" fmla="*/ 37701 w 232036"/>
                <a:gd name="connsiteY41" fmla="*/ 120657 h 222800"/>
                <a:gd name="connsiteX42" fmla="*/ 41535 w 232036"/>
                <a:gd name="connsiteY42" fmla="*/ 127680 h 222800"/>
                <a:gd name="connsiteX43" fmla="*/ 74762 w 232036"/>
                <a:gd name="connsiteY43" fmla="*/ 143640 h 222800"/>
                <a:gd name="connsiteX44" fmla="*/ 92015 w 232036"/>
                <a:gd name="connsiteY44" fmla="*/ 176198 h 222800"/>
                <a:gd name="connsiteX45" fmla="*/ 125882 w 232036"/>
                <a:gd name="connsiteY45" fmla="*/ 169176 h 222800"/>
                <a:gd name="connsiteX46" fmla="*/ 159749 w 232036"/>
                <a:gd name="connsiteY46" fmla="*/ 185135 h 222800"/>
                <a:gd name="connsiteX47" fmla="*/ 162304 w 232036"/>
                <a:gd name="connsiteY47" fmla="*/ 185774 h 222800"/>
                <a:gd name="connsiteX48" fmla="*/ 167416 w 232036"/>
                <a:gd name="connsiteY48" fmla="*/ 183220 h 222800"/>
                <a:gd name="connsiteX49" fmla="*/ 176362 w 232036"/>
                <a:gd name="connsiteY49" fmla="*/ 120657 h 222800"/>
                <a:gd name="connsiteX50" fmla="*/ 190420 w 232036"/>
                <a:gd name="connsiteY50" fmla="*/ 67670 h 222800"/>
                <a:gd name="connsiteX51" fmla="*/ 201922 w 232036"/>
                <a:gd name="connsiteY51" fmla="*/ 67670 h 222800"/>
                <a:gd name="connsiteX52" fmla="*/ 207673 w 232036"/>
                <a:gd name="connsiteY52" fmla="*/ 73416 h 222800"/>
                <a:gd name="connsiteX53" fmla="*/ 207673 w 232036"/>
                <a:gd name="connsiteY53" fmla="*/ 73416 h 222800"/>
                <a:gd name="connsiteX54" fmla="*/ 207673 w 232036"/>
                <a:gd name="connsiteY54" fmla="*/ 194073 h 222800"/>
                <a:gd name="connsiteX55" fmla="*/ 26838 w 232036"/>
                <a:gd name="connsiteY55" fmla="*/ 194073 h 222800"/>
                <a:gd name="connsiteX56" fmla="*/ 25560 w 232036"/>
                <a:gd name="connsiteY56" fmla="*/ 73416 h 222800"/>
                <a:gd name="connsiteX57" fmla="*/ 209590 w 232036"/>
                <a:gd name="connsiteY57" fmla="*/ 210033 h 222800"/>
                <a:gd name="connsiteX58" fmla="*/ 22365 w 232036"/>
                <a:gd name="connsiteY58" fmla="*/ 210033 h 222800"/>
                <a:gd name="connsiteX59" fmla="*/ 15336 w 232036"/>
                <a:gd name="connsiteY59" fmla="*/ 206841 h 222800"/>
                <a:gd name="connsiteX60" fmla="*/ 216619 w 232036"/>
                <a:gd name="connsiteY60" fmla="*/ 206841 h 222800"/>
                <a:gd name="connsiteX61" fmla="*/ 209590 w 232036"/>
                <a:gd name="connsiteY61" fmla="*/ 210033 h 222800"/>
                <a:gd name="connsiteX62" fmla="*/ 209590 w 232036"/>
                <a:gd name="connsiteY62" fmla="*/ 210033 h 2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2036" h="222800">
                  <a:moveTo>
                    <a:pt x="225565" y="194711"/>
                  </a:moveTo>
                  <a:lnTo>
                    <a:pt x="219175" y="194711"/>
                  </a:lnTo>
                  <a:lnTo>
                    <a:pt x="219175" y="74054"/>
                  </a:lnTo>
                  <a:cubicBezTo>
                    <a:pt x="219175" y="63840"/>
                    <a:pt x="210868" y="55541"/>
                    <a:pt x="200644" y="55541"/>
                  </a:cubicBezTo>
                  <a:cubicBezTo>
                    <a:pt x="200644" y="55541"/>
                    <a:pt x="200644" y="55541"/>
                    <a:pt x="200644" y="55541"/>
                  </a:cubicBezTo>
                  <a:lnTo>
                    <a:pt x="189781" y="55541"/>
                  </a:lnTo>
                  <a:cubicBezTo>
                    <a:pt x="189781" y="37666"/>
                    <a:pt x="185947" y="19790"/>
                    <a:pt x="178279" y="3830"/>
                  </a:cubicBezTo>
                  <a:cubicBezTo>
                    <a:pt x="177001" y="1277"/>
                    <a:pt x="174445" y="0"/>
                    <a:pt x="171889" y="0"/>
                  </a:cubicBezTo>
                  <a:cubicBezTo>
                    <a:pt x="169972" y="0"/>
                    <a:pt x="125882" y="5107"/>
                    <a:pt x="93932" y="54902"/>
                  </a:cubicBezTo>
                  <a:lnTo>
                    <a:pt x="31311" y="54902"/>
                  </a:lnTo>
                  <a:cubicBezTo>
                    <a:pt x="21087" y="54902"/>
                    <a:pt x="12780" y="63201"/>
                    <a:pt x="12780" y="73416"/>
                  </a:cubicBezTo>
                  <a:lnTo>
                    <a:pt x="12780" y="73416"/>
                  </a:lnTo>
                  <a:lnTo>
                    <a:pt x="12780" y="194073"/>
                  </a:lnTo>
                  <a:lnTo>
                    <a:pt x="6390" y="194073"/>
                  </a:lnTo>
                  <a:cubicBezTo>
                    <a:pt x="2556" y="194073"/>
                    <a:pt x="0" y="196627"/>
                    <a:pt x="0" y="200457"/>
                  </a:cubicBezTo>
                  <a:cubicBezTo>
                    <a:pt x="0" y="212587"/>
                    <a:pt x="10224" y="222801"/>
                    <a:pt x="22365" y="222801"/>
                  </a:cubicBezTo>
                  <a:lnTo>
                    <a:pt x="209590" y="222801"/>
                  </a:lnTo>
                  <a:cubicBezTo>
                    <a:pt x="221731" y="222801"/>
                    <a:pt x="231955" y="212587"/>
                    <a:pt x="231955" y="200457"/>
                  </a:cubicBezTo>
                  <a:cubicBezTo>
                    <a:pt x="232594" y="197265"/>
                    <a:pt x="229399" y="194711"/>
                    <a:pt x="225565" y="194711"/>
                  </a:cubicBezTo>
                  <a:cubicBezTo>
                    <a:pt x="226204" y="194711"/>
                    <a:pt x="226204" y="194711"/>
                    <a:pt x="225565" y="194711"/>
                  </a:cubicBezTo>
                  <a:close/>
                  <a:moveTo>
                    <a:pt x="168694" y="13406"/>
                  </a:moveTo>
                  <a:cubicBezTo>
                    <a:pt x="189781" y="62563"/>
                    <a:pt x="162944" y="117465"/>
                    <a:pt x="162304" y="118104"/>
                  </a:cubicBezTo>
                  <a:cubicBezTo>
                    <a:pt x="161665" y="120019"/>
                    <a:pt x="161665" y="121934"/>
                    <a:pt x="162304" y="123849"/>
                  </a:cubicBezTo>
                  <a:cubicBezTo>
                    <a:pt x="169333" y="139171"/>
                    <a:pt x="168055" y="157046"/>
                    <a:pt x="159110" y="171729"/>
                  </a:cubicBezTo>
                  <a:lnTo>
                    <a:pt x="125882" y="156408"/>
                  </a:lnTo>
                  <a:cubicBezTo>
                    <a:pt x="125243" y="155769"/>
                    <a:pt x="123965" y="155769"/>
                    <a:pt x="123326" y="155769"/>
                  </a:cubicBezTo>
                  <a:cubicBezTo>
                    <a:pt x="121409" y="155769"/>
                    <a:pt x="119492" y="156408"/>
                    <a:pt x="118214" y="158323"/>
                  </a:cubicBezTo>
                  <a:cubicBezTo>
                    <a:pt x="118214" y="158323"/>
                    <a:pt x="107990" y="170452"/>
                    <a:pt x="95849" y="165345"/>
                  </a:cubicBezTo>
                  <a:cubicBezTo>
                    <a:pt x="83708" y="160238"/>
                    <a:pt x="86264" y="141724"/>
                    <a:pt x="86264" y="141724"/>
                  </a:cubicBezTo>
                  <a:cubicBezTo>
                    <a:pt x="86903" y="139171"/>
                    <a:pt x="84986" y="135979"/>
                    <a:pt x="82430" y="134702"/>
                  </a:cubicBezTo>
                  <a:lnTo>
                    <a:pt x="49842" y="119381"/>
                  </a:lnTo>
                  <a:cubicBezTo>
                    <a:pt x="53676" y="102782"/>
                    <a:pt x="67733" y="90014"/>
                    <a:pt x="84986" y="89376"/>
                  </a:cubicBezTo>
                  <a:cubicBezTo>
                    <a:pt x="87542" y="89376"/>
                    <a:pt x="90098" y="88099"/>
                    <a:pt x="90737" y="85545"/>
                  </a:cubicBezTo>
                  <a:cubicBezTo>
                    <a:pt x="93293" y="79161"/>
                    <a:pt x="96488" y="72777"/>
                    <a:pt x="100322" y="67032"/>
                  </a:cubicBezTo>
                  <a:cubicBezTo>
                    <a:pt x="101600" y="66393"/>
                    <a:pt x="102239" y="65117"/>
                    <a:pt x="102878" y="63201"/>
                  </a:cubicBezTo>
                  <a:cubicBezTo>
                    <a:pt x="127799" y="26174"/>
                    <a:pt x="157831" y="15960"/>
                    <a:pt x="168694" y="13406"/>
                  </a:cubicBezTo>
                  <a:close/>
                  <a:moveTo>
                    <a:pt x="25560" y="73416"/>
                  </a:moveTo>
                  <a:cubicBezTo>
                    <a:pt x="25560" y="70224"/>
                    <a:pt x="28116" y="67670"/>
                    <a:pt x="31311" y="67670"/>
                  </a:cubicBezTo>
                  <a:lnTo>
                    <a:pt x="31311" y="67670"/>
                  </a:lnTo>
                  <a:lnTo>
                    <a:pt x="86264" y="67670"/>
                  </a:lnTo>
                  <a:cubicBezTo>
                    <a:pt x="84986" y="70224"/>
                    <a:pt x="83708" y="72777"/>
                    <a:pt x="82430" y="75969"/>
                  </a:cubicBezTo>
                  <a:cubicBezTo>
                    <a:pt x="67733" y="77246"/>
                    <a:pt x="44091" y="88099"/>
                    <a:pt x="37701" y="120657"/>
                  </a:cubicBezTo>
                  <a:cubicBezTo>
                    <a:pt x="37062" y="123211"/>
                    <a:pt x="38340" y="126403"/>
                    <a:pt x="41535" y="127680"/>
                  </a:cubicBezTo>
                  <a:lnTo>
                    <a:pt x="74762" y="143640"/>
                  </a:lnTo>
                  <a:cubicBezTo>
                    <a:pt x="74762" y="151939"/>
                    <a:pt x="76040" y="169176"/>
                    <a:pt x="92015" y="176198"/>
                  </a:cubicBezTo>
                  <a:cubicBezTo>
                    <a:pt x="103517" y="181305"/>
                    <a:pt x="116936" y="178752"/>
                    <a:pt x="125882" y="169176"/>
                  </a:cubicBezTo>
                  <a:lnTo>
                    <a:pt x="159749" y="185135"/>
                  </a:lnTo>
                  <a:cubicBezTo>
                    <a:pt x="160387" y="185774"/>
                    <a:pt x="161665" y="185774"/>
                    <a:pt x="162304" y="185774"/>
                  </a:cubicBezTo>
                  <a:cubicBezTo>
                    <a:pt x="164221" y="185774"/>
                    <a:pt x="166138" y="185135"/>
                    <a:pt x="167416" y="183220"/>
                  </a:cubicBezTo>
                  <a:cubicBezTo>
                    <a:pt x="180835" y="165345"/>
                    <a:pt x="184669" y="141724"/>
                    <a:pt x="176362" y="120657"/>
                  </a:cubicBezTo>
                  <a:cubicBezTo>
                    <a:pt x="184030" y="104059"/>
                    <a:pt x="188503" y="86184"/>
                    <a:pt x="190420" y="67670"/>
                  </a:cubicBezTo>
                  <a:lnTo>
                    <a:pt x="201922" y="67670"/>
                  </a:lnTo>
                  <a:cubicBezTo>
                    <a:pt x="205117" y="67670"/>
                    <a:pt x="207673" y="70224"/>
                    <a:pt x="207673" y="73416"/>
                  </a:cubicBezTo>
                  <a:cubicBezTo>
                    <a:pt x="207673" y="73416"/>
                    <a:pt x="207673" y="73416"/>
                    <a:pt x="207673" y="73416"/>
                  </a:cubicBezTo>
                  <a:lnTo>
                    <a:pt x="207673" y="194073"/>
                  </a:lnTo>
                  <a:lnTo>
                    <a:pt x="26838" y="194073"/>
                  </a:lnTo>
                  <a:lnTo>
                    <a:pt x="25560" y="73416"/>
                  </a:lnTo>
                  <a:close/>
                  <a:moveTo>
                    <a:pt x="209590" y="210033"/>
                  </a:moveTo>
                  <a:lnTo>
                    <a:pt x="22365" y="210033"/>
                  </a:lnTo>
                  <a:cubicBezTo>
                    <a:pt x="19809" y="210033"/>
                    <a:pt x="17253" y="208756"/>
                    <a:pt x="15336" y="206841"/>
                  </a:cubicBezTo>
                  <a:lnTo>
                    <a:pt x="216619" y="206841"/>
                  </a:lnTo>
                  <a:cubicBezTo>
                    <a:pt x="215341" y="209395"/>
                    <a:pt x="212785" y="210671"/>
                    <a:pt x="209590" y="210033"/>
                  </a:cubicBezTo>
                  <a:lnTo>
                    <a:pt x="209590" y="2100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5AFAF5A9-8BC6-16C5-3A7B-A517AD865C8C}"/>
                </a:ext>
              </a:extLst>
            </p:cNvPr>
            <p:cNvSpPr/>
            <p:nvPr/>
          </p:nvSpPr>
          <p:spPr>
            <a:xfrm>
              <a:off x="1675441" y="1536787"/>
              <a:ext cx="54953" cy="54902"/>
            </a:xfrm>
            <a:custGeom>
              <a:avLst/>
              <a:gdLst>
                <a:gd name="connsiteX0" fmla="*/ 0 w 54953"/>
                <a:gd name="connsiteY0" fmla="*/ 27451 h 54902"/>
                <a:gd name="connsiteX1" fmla="*/ 27477 w 54953"/>
                <a:gd name="connsiteY1" fmla="*/ 54902 h 54902"/>
                <a:gd name="connsiteX2" fmla="*/ 54953 w 54953"/>
                <a:gd name="connsiteY2" fmla="*/ 27451 h 54902"/>
                <a:gd name="connsiteX3" fmla="*/ 27477 w 54953"/>
                <a:gd name="connsiteY3" fmla="*/ 0 h 54902"/>
                <a:gd name="connsiteX4" fmla="*/ 0 w 54953"/>
                <a:gd name="connsiteY4" fmla="*/ 27451 h 54902"/>
                <a:gd name="connsiteX5" fmla="*/ 27477 w 54953"/>
                <a:gd name="connsiteY5" fmla="*/ 12768 h 54902"/>
                <a:gd name="connsiteX6" fmla="*/ 42173 w 54953"/>
                <a:gd name="connsiteY6" fmla="*/ 27451 h 54902"/>
                <a:gd name="connsiteX7" fmla="*/ 27477 w 54953"/>
                <a:gd name="connsiteY7" fmla="*/ 42134 h 54902"/>
                <a:gd name="connsiteX8" fmla="*/ 12780 w 54953"/>
                <a:gd name="connsiteY8" fmla="*/ 27451 h 54902"/>
                <a:gd name="connsiteX9" fmla="*/ 27477 w 54953"/>
                <a:gd name="connsiteY9" fmla="*/ 12768 h 5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53" h="54902">
                  <a:moveTo>
                    <a:pt x="0" y="27451"/>
                  </a:moveTo>
                  <a:cubicBezTo>
                    <a:pt x="0" y="42773"/>
                    <a:pt x="12141" y="54902"/>
                    <a:pt x="27477" y="54902"/>
                  </a:cubicBezTo>
                  <a:cubicBezTo>
                    <a:pt x="42812" y="54902"/>
                    <a:pt x="54953" y="42773"/>
                    <a:pt x="54953" y="27451"/>
                  </a:cubicBezTo>
                  <a:cubicBezTo>
                    <a:pt x="54953" y="12130"/>
                    <a:pt x="42812" y="0"/>
                    <a:pt x="27477" y="0"/>
                  </a:cubicBezTo>
                  <a:cubicBezTo>
                    <a:pt x="12780" y="0"/>
                    <a:pt x="639" y="12130"/>
                    <a:pt x="0" y="27451"/>
                  </a:cubicBezTo>
                  <a:close/>
                  <a:moveTo>
                    <a:pt x="27477" y="12768"/>
                  </a:moveTo>
                  <a:cubicBezTo>
                    <a:pt x="35783" y="12768"/>
                    <a:pt x="42173" y="19152"/>
                    <a:pt x="42173" y="27451"/>
                  </a:cubicBezTo>
                  <a:cubicBezTo>
                    <a:pt x="42173" y="35750"/>
                    <a:pt x="35783" y="42134"/>
                    <a:pt x="27477" y="42134"/>
                  </a:cubicBezTo>
                  <a:cubicBezTo>
                    <a:pt x="19170" y="42134"/>
                    <a:pt x="12780" y="35750"/>
                    <a:pt x="12780" y="27451"/>
                  </a:cubicBezTo>
                  <a:cubicBezTo>
                    <a:pt x="13419" y="19152"/>
                    <a:pt x="19809" y="12768"/>
                    <a:pt x="27477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8638560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4" descr="A group of people in a room with computers&#10;&#10;Description automatically generated">
            <a:extLst>
              <a:ext uri="{FF2B5EF4-FFF2-40B4-BE49-F238E27FC236}">
                <a16:creationId xmlns:a16="http://schemas.microsoft.com/office/drawing/2014/main" id="{D86A0305-0F52-764D-BA43-77F6DF1C023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" r="2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2C06A48-2009-5A02-3890-1159FF4E921E}"/>
              </a:ext>
            </a:extLst>
          </p:cNvPr>
          <p:cNvSpPr/>
          <p:nvPr/>
        </p:nvSpPr>
        <p:spPr bwMode="gray">
          <a:xfrm flipV="1">
            <a:off x="0" y="0"/>
            <a:ext cx="12192000" cy="34290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5112E8-8F9B-52ED-F240-E101EE593BE3}"/>
              </a:ext>
            </a:extLst>
          </p:cNvPr>
          <p:cNvSpPr/>
          <p:nvPr/>
        </p:nvSpPr>
        <p:spPr bwMode="gray">
          <a:xfrm flipV="1">
            <a:off x="0" y="-1"/>
            <a:ext cx="12192000" cy="466194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0E20DD-1815-10B4-831B-A65A3A8081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MX" dirty="0">
                <a:solidFill>
                  <a:schemeClr val="bg1"/>
                </a:solidFill>
              </a:rPr>
              <a:t>Beneficios de la inteligencia artificial en la auditoría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75513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32EDD-DB5F-EF41-1E92-056576BF2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eneficios de la inteligencia artificial en la auditoría </a:t>
            </a:r>
            <a:endParaRPr lang="en-US" dirty="0"/>
          </a:p>
        </p:txBody>
      </p:sp>
      <p:sp>
        <p:nvSpPr>
          <p:cNvPr id="3" name="椭圆 4">
            <a:extLst>
              <a:ext uri="{FF2B5EF4-FFF2-40B4-BE49-F238E27FC236}">
                <a16:creationId xmlns:a16="http://schemas.microsoft.com/office/drawing/2014/main" id="{3ABBD900-FD58-7B85-2FE9-7B7EE1EA7F36}"/>
              </a:ext>
            </a:extLst>
          </p:cNvPr>
          <p:cNvSpPr/>
          <p:nvPr/>
        </p:nvSpPr>
        <p:spPr bwMode="gray">
          <a:xfrm>
            <a:off x="812670" y="1733889"/>
            <a:ext cx="1508219" cy="1508219"/>
          </a:xfrm>
          <a:prstGeom prst="ellipse">
            <a:avLst/>
          </a:prstGeom>
          <a:noFill/>
          <a:ln w="3810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4" name="任意多边形 11">
            <a:extLst>
              <a:ext uri="{FF2B5EF4-FFF2-40B4-BE49-F238E27FC236}">
                <a16:creationId xmlns:a16="http://schemas.microsoft.com/office/drawing/2014/main" id="{D4496A09-2898-8999-2220-4EAD00FDCF06}"/>
              </a:ext>
            </a:extLst>
          </p:cNvPr>
          <p:cNvSpPr/>
          <p:nvPr/>
        </p:nvSpPr>
        <p:spPr bwMode="gray">
          <a:xfrm>
            <a:off x="891530" y="2487997"/>
            <a:ext cx="1350498" cy="675249"/>
          </a:xfrm>
          <a:custGeom>
            <a:avLst/>
            <a:gdLst>
              <a:gd name="connsiteX0" fmla="*/ 0 w 1548000"/>
              <a:gd name="connsiteY0" fmla="*/ 0 h 774000"/>
              <a:gd name="connsiteX1" fmla="*/ 1548000 w 1548000"/>
              <a:gd name="connsiteY1" fmla="*/ 0 h 774000"/>
              <a:gd name="connsiteX2" fmla="*/ 774000 w 1548000"/>
              <a:gd name="connsiteY2" fmla="*/ 774000 h 774000"/>
              <a:gd name="connsiteX3" fmla="*/ 0 w 1548000"/>
              <a:gd name="connsiteY3" fmla="*/ 0 h 7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000" h="774000">
                <a:moveTo>
                  <a:pt x="0" y="0"/>
                </a:moveTo>
                <a:lnTo>
                  <a:pt x="1548000" y="0"/>
                </a:lnTo>
                <a:cubicBezTo>
                  <a:pt x="1548000" y="427468"/>
                  <a:pt x="1201468" y="774000"/>
                  <a:pt x="774000" y="774000"/>
                </a:cubicBezTo>
                <a:cubicBezTo>
                  <a:pt x="346532" y="774000"/>
                  <a:pt x="0" y="427468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cxnSp>
        <p:nvCxnSpPr>
          <p:cNvPr id="5" name="直接连接符 16">
            <a:extLst>
              <a:ext uri="{FF2B5EF4-FFF2-40B4-BE49-F238E27FC236}">
                <a16:creationId xmlns:a16="http://schemas.microsoft.com/office/drawing/2014/main" id="{2D10FE43-45A2-9664-CCCA-C073F1A6B090}"/>
              </a:ext>
            </a:extLst>
          </p:cNvPr>
          <p:cNvCxnSpPr/>
          <p:nvPr/>
        </p:nvCxnSpPr>
        <p:spPr>
          <a:xfrm>
            <a:off x="1566759" y="3242107"/>
            <a:ext cx="40" cy="622766"/>
          </a:xfrm>
          <a:prstGeom prst="line">
            <a:avLst/>
          </a:prstGeom>
          <a:ln w="28575">
            <a:solidFill>
              <a:srgbClr val="0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60">
            <a:extLst>
              <a:ext uri="{FF2B5EF4-FFF2-40B4-BE49-F238E27FC236}">
                <a16:creationId xmlns:a16="http://schemas.microsoft.com/office/drawing/2014/main" id="{D647FEF1-96A1-1999-7C89-27793529EF1C}"/>
              </a:ext>
            </a:extLst>
          </p:cNvPr>
          <p:cNvSpPr/>
          <p:nvPr/>
        </p:nvSpPr>
        <p:spPr>
          <a:xfrm>
            <a:off x="557780" y="4543880"/>
            <a:ext cx="2017998" cy="1600438"/>
          </a:xfrm>
          <a:prstGeom prst="rect">
            <a:avLst/>
          </a:prstGeom>
        </p:spPr>
        <p:txBody>
          <a:bodyPr wrap="square" lIns="18288" tIns="0" rIns="18288" bIns="0">
            <a:spAutoFit/>
          </a:bodyPr>
          <a:lstStyle/>
          <a:p>
            <a:r>
              <a:rPr lang="es-MX" altLang="zh-CN" sz="1300" dirty="0"/>
              <a:t>La automatización de tareas rutinarias y repetitivas permite a los auditores focalizarse en análisis más estratégicos y de mayor valor. Esto agiliza los procesos y reduce los tiempos de auditoría.</a:t>
            </a:r>
          </a:p>
        </p:txBody>
      </p:sp>
      <p:sp>
        <p:nvSpPr>
          <p:cNvPr id="12" name="椭圆 43">
            <a:extLst>
              <a:ext uri="{FF2B5EF4-FFF2-40B4-BE49-F238E27FC236}">
                <a16:creationId xmlns:a16="http://schemas.microsoft.com/office/drawing/2014/main" id="{6139EA34-DC31-0272-4603-0894711224CF}"/>
              </a:ext>
            </a:extLst>
          </p:cNvPr>
          <p:cNvSpPr/>
          <p:nvPr/>
        </p:nvSpPr>
        <p:spPr bwMode="gray">
          <a:xfrm>
            <a:off x="3103350" y="1733889"/>
            <a:ext cx="1508219" cy="1508219"/>
          </a:xfrm>
          <a:prstGeom prst="ellipse">
            <a:avLst/>
          </a:prstGeom>
          <a:noFill/>
          <a:ln w="3810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13" name="任意多边形 44">
            <a:extLst>
              <a:ext uri="{FF2B5EF4-FFF2-40B4-BE49-F238E27FC236}">
                <a16:creationId xmlns:a16="http://schemas.microsoft.com/office/drawing/2014/main" id="{695F22CC-2D6B-484B-7D1B-9453A49757DD}"/>
              </a:ext>
            </a:extLst>
          </p:cNvPr>
          <p:cNvSpPr/>
          <p:nvPr/>
        </p:nvSpPr>
        <p:spPr bwMode="gray">
          <a:xfrm>
            <a:off x="3182210" y="2487997"/>
            <a:ext cx="1350498" cy="675249"/>
          </a:xfrm>
          <a:custGeom>
            <a:avLst/>
            <a:gdLst>
              <a:gd name="connsiteX0" fmla="*/ 0 w 1548000"/>
              <a:gd name="connsiteY0" fmla="*/ 0 h 774000"/>
              <a:gd name="connsiteX1" fmla="*/ 1548000 w 1548000"/>
              <a:gd name="connsiteY1" fmla="*/ 0 h 774000"/>
              <a:gd name="connsiteX2" fmla="*/ 774000 w 1548000"/>
              <a:gd name="connsiteY2" fmla="*/ 774000 h 774000"/>
              <a:gd name="connsiteX3" fmla="*/ 0 w 1548000"/>
              <a:gd name="connsiteY3" fmla="*/ 0 h 7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000" h="774000">
                <a:moveTo>
                  <a:pt x="0" y="0"/>
                </a:moveTo>
                <a:lnTo>
                  <a:pt x="1548000" y="0"/>
                </a:lnTo>
                <a:cubicBezTo>
                  <a:pt x="1548000" y="427468"/>
                  <a:pt x="1201468" y="774000"/>
                  <a:pt x="774000" y="774000"/>
                </a:cubicBezTo>
                <a:cubicBezTo>
                  <a:pt x="346532" y="774000"/>
                  <a:pt x="0" y="427468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cxnSp>
        <p:nvCxnSpPr>
          <p:cNvPr id="14" name="直接连接符 45">
            <a:extLst>
              <a:ext uri="{FF2B5EF4-FFF2-40B4-BE49-F238E27FC236}">
                <a16:creationId xmlns:a16="http://schemas.microsoft.com/office/drawing/2014/main" id="{7B9CFA26-DF2B-FBBF-1874-6BB423B015EA}"/>
              </a:ext>
            </a:extLst>
          </p:cNvPr>
          <p:cNvCxnSpPr/>
          <p:nvPr/>
        </p:nvCxnSpPr>
        <p:spPr>
          <a:xfrm>
            <a:off x="3857439" y="3242107"/>
            <a:ext cx="40" cy="6227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60">
            <a:extLst>
              <a:ext uri="{FF2B5EF4-FFF2-40B4-BE49-F238E27FC236}">
                <a16:creationId xmlns:a16="http://schemas.microsoft.com/office/drawing/2014/main" id="{B7A28A18-F2C8-4BE9-2900-D107D52A0894}"/>
              </a:ext>
            </a:extLst>
          </p:cNvPr>
          <p:cNvSpPr/>
          <p:nvPr/>
        </p:nvSpPr>
        <p:spPr>
          <a:xfrm>
            <a:off x="2848460" y="4543880"/>
            <a:ext cx="2017998" cy="1800493"/>
          </a:xfrm>
          <a:prstGeom prst="rect">
            <a:avLst/>
          </a:prstGeom>
        </p:spPr>
        <p:txBody>
          <a:bodyPr wrap="square" lIns="18288" tIns="0" rIns="18288" bIns="0">
            <a:spAutoFit/>
          </a:bodyPr>
          <a:lstStyle/>
          <a:p>
            <a:r>
              <a:rPr lang="es-MX" altLang="zh-CN" sz="1300" dirty="0"/>
              <a:t>Las herramientas digitales pueden realizar cálculos y análisis con una precisión mucho mayor que los métodos manuales. Esto disminuye la posibilidad de errores humanos en la documentación y presentación de informes.</a:t>
            </a:r>
          </a:p>
        </p:txBody>
      </p:sp>
      <p:sp>
        <p:nvSpPr>
          <p:cNvPr id="16" name="椭圆 55">
            <a:extLst>
              <a:ext uri="{FF2B5EF4-FFF2-40B4-BE49-F238E27FC236}">
                <a16:creationId xmlns:a16="http://schemas.microsoft.com/office/drawing/2014/main" id="{DB2589DC-D7B6-B7D4-A166-13949E79D52D}"/>
              </a:ext>
            </a:extLst>
          </p:cNvPr>
          <p:cNvSpPr/>
          <p:nvPr/>
        </p:nvSpPr>
        <p:spPr bwMode="gray">
          <a:xfrm>
            <a:off x="5394029" y="1733889"/>
            <a:ext cx="1508219" cy="1508219"/>
          </a:xfrm>
          <a:prstGeom prst="ellipse">
            <a:avLst/>
          </a:prstGeom>
          <a:noFill/>
          <a:ln w="3810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任意多边形 56">
            <a:extLst>
              <a:ext uri="{FF2B5EF4-FFF2-40B4-BE49-F238E27FC236}">
                <a16:creationId xmlns:a16="http://schemas.microsoft.com/office/drawing/2014/main" id="{FE1DD405-BAC9-953F-2189-2D8FC69E8F18}"/>
              </a:ext>
            </a:extLst>
          </p:cNvPr>
          <p:cNvSpPr/>
          <p:nvPr/>
        </p:nvSpPr>
        <p:spPr bwMode="gray">
          <a:xfrm>
            <a:off x="5472889" y="2487997"/>
            <a:ext cx="1350498" cy="675249"/>
          </a:xfrm>
          <a:custGeom>
            <a:avLst/>
            <a:gdLst>
              <a:gd name="connsiteX0" fmla="*/ 0 w 1548000"/>
              <a:gd name="connsiteY0" fmla="*/ 0 h 774000"/>
              <a:gd name="connsiteX1" fmla="*/ 1548000 w 1548000"/>
              <a:gd name="connsiteY1" fmla="*/ 0 h 774000"/>
              <a:gd name="connsiteX2" fmla="*/ 774000 w 1548000"/>
              <a:gd name="connsiteY2" fmla="*/ 774000 h 774000"/>
              <a:gd name="connsiteX3" fmla="*/ 0 w 1548000"/>
              <a:gd name="connsiteY3" fmla="*/ 0 h 7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000" h="774000">
                <a:moveTo>
                  <a:pt x="0" y="0"/>
                </a:moveTo>
                <a:lnTo>
                  <a:pt x="1548000" y="0"/>
                </a:lnTo>
                <a:cubicBezTo>
                  <a:pt x="1548000" y="427468"/>
                  <a:pt x="1201468" y="774000"/>
                  <a:pt x="774000" y="774000"/>
                </a:cubicBezTo>
                <a:cubicBezTo>
                  <a:pt x="346532" y="774000"/>
                  <a:pt x="0" y="427468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cxnSp>
        <p:nvCxnSpPr>
          <p:cNvPr id="18" name="直接连接符 57">
            <a:extLst>
              <a:ext uri="{FF2B5EF4-FFF2-40B4-BE49-F238E27FC236}">
                <a16:creationId xmlns:a16="http://schemas.microsoft.com/office/drawing/2014/main" id="{353E72B5-6631-04D1-1882-9C9B03F31DED}"/>
              </a:ext>
            </a:extLst>
          </p:cNvPr>
          <p:cNvCxnSpPr/>
          <p:nvPr/>
        </p:nvCxnSpPr>
        <p:spPr>
          <a:xfrm>
            <a:off x="6148118" y="3242107"/>
            <a:ext cx="40" cy="622766"/>
          </a:xfrm>
          <a:prstGeom prst="line">
            <a:avLst/>
          </a:prstGeom>
          <a:ln w="28575">
            <a:solidFill>
              <a:srgbClr val="86BC2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60">
            <a:extLst>
              <a:ext uri="{FF2B5EF4-FFF2-40B4-BE49-F238E27FC236}">
                <a16:creationId xmlns:a16="http://schemas.microsoft.com/office/drawing/2014/main" id="{9E738BCD-4582-B058-8B86-C43547CF96FC}"/>
              </a:ext>
            </a:extLst>
          </p:cNvPr>
          <p:cNvSpPr/>
          <p:nvPr/>
        </p:nvSpPr>
        <p:spPr>
          <a:xfrm>
            <a:off x="5139139" y="4543880"/>
            <a:ext cx="2017998" cy="1400383"/>
          </a:xfrm>
          <a:prstGeom prst="rect">
            <a:avLst/>
          </a:prstGeom>
        </p:spPr>
        <p:txBody>
          <a:bodyPr wrap="square" lIns="18288" tIns="0" rIns="18288" bIns="0">
            <a:spAutoFit/>
          </a:bodyPr>
          <a:lstStyle/>
          <a:p>
            <a:r>
              <a:rPr lang="es-MX" altLang="zh-CN" sz="1300" dirty="0"/>
              <a:t>La transformación digital permite acceder a datos financieros en tiempo real, lo que facilita la toma de decisiones basadas en información actualizada y relevante.</a:t>
            </a:r>
          </a:p>
        </p:txBody>
      </p:sp>
      <p:sp>
        <p:nvSpPr>
          <p:cNvPr id="20" name="椭圆 67">
            <a:extLst>
              <a:ext uri="{FF2B5EF4-FFF2-40B4-BE49-F238E27FC236}">
                <a16:creationId xmlns:a16="http://schemas.microsoft.com/office/drawing/2014/main" id="{7879132B-E90B-4759-02F2-4F6288ADD68A}"/>
              </a:ext>
            </a:extLst>
          </p:cNvPr>
          <p:cNvSpPr/>
          <p:nvPr/>
        </p:nvSpPr>
        <p:spPr bwMode="gray">
          <a:xfrm>
            <a:off x="7684709" y="1733889"/>
            <a:ext cx="1508219" cy="1508219"/>
          </a:xfrm>
          <a:prstGeom prst="ellipse">
            <a:avLst/>
          </a:prstGeom>
          <a:noFill/>
          <a:ln w="38100" algn="ctr">
            <a:solidFill>
              <a:srgbClr val="43B02A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21" name="任意多边形 68">
            <a:extLst>
              <a:ext uri="{FF2B5EF4-FFF2-40B4-BE49-F238E27FC236}">
                <a16:creationId xmlns:a16="http://schemas.microsoft.com/office/drawing/2014/main" id="{7F2F74E1-F238-C171-504D-14EBE2A40B49}"/>
              </a:ext>
            </a:extLst>
          </p:cNvPr>
          <p:cNvSpPr/>
          <p:nvPr/>
        </p:nvSpPr>
        <p:spPr bwMode="gray">
          <a:xfrm>
            <a:off x="7763569" y="2487997"/>
            <a:ext cx="1350498" cy="675249"/>
          </a:xfrm>
          <a:custGeom>
            <a:avLst/>
            <a:gdLst>
              <a:gd name="connsiteX0" fmla="*/ 0 w 1548000"/>
              <a:gd name="connsiteY0" fmla="*/ 0 h 774000"/>
              <a:gd name="connsiteX1" fmla="*/ 1548000 w 1548000"/>
              <a:gd name="connsiteY1" fmla="*/ 0 h 774000"/>
              <a:gd name="connsiteX2" fmla="*/ 774000 w 1548000"/>
              <a:gd name="connsiteY2" fmla="*/ 774000 h 774000"/>
              <a:gd name="connsiteX3" fmla="*/ 0 w 1548000"/>
              <a:gd name="connsiteY3" fmla="*/ 0 h 7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000" h="774000">
                <a:moveTo>
                  <a:pt x="0" y="0"/>
                </a:moveTo>
                <a:lnTo>
                  <a:pt x="1548000" y="0"/>
                </a:lnTo>
                <a:cubicBezTo>
                  <a:pt x="1548000" y="427468"/>
                  <a:pt x="1201468" y="774000"/>
                  <a:pt x="774000" y="774000"/>
                </a:cubicBezTo>
                <a:cubicBezTo>
                  <a:pt x="346532" y="774000"/>
                  <a:pt x="0" y="427468"/>
                  <a:pt x="0" y="0"/>
                </a:cubicBezTo>
                <a:close/>
              </a:path>
            </a:pathLst>
          </a:custGeom>
          <a:solidFill>
            <a:srgbClr val="43B02A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69">
            <a:extLst>
              <a:ext uri="{FF2B5EF4-FFF2-40B4-BE49-F238E27FC236}">
                <a16:creationId xmlns:a16="http://schemas.microsoft.com/office/drawing/2014/main" id="{9790314C-33AB-11BD-9881-A53E75692ED0}"/>
              </a:ext>
            </a:extLst>
          </p:cNvPr>
          <p:cNvCxnSpPr/>
          <p:nvPr/>
        </p:nvCxnSpPr>
        <p:spPr>
          <a:xfrm>
            <a:off x="8438798" y="3242107"/>
            <a:ext cx="40" cy="622766"/>
          </a:xfrm>
          <a:prstGeom prst="line">
            <a:avLst/>
          </a:prstGeom>
          <a:ln w="28575">
            <a:solidFill>
              <a:srgbClr val="43B0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60">
            <a:extLst>
              <a:ext uri="{FF2B5EF4-FFF2-40B4-BE49-F238E27FC236}">
                <a16:creationId xmlns:a16="http://schemas.microsoft.com/office/drawing/2014/main" id="{4276A974-EB19-759D-13E4-1E67B76FC2ED}"/>
              </a:ext>
            </a:extLst>
          </p:cNvPr>
          <p:cNvSpPr/>
          <p:nvPr/>
        </p:nvSpPr>
        <p:spPr>
          <a:xfrm>
            <a:off x="7429819" y="4543881"/>
            <a:ext cx="2017998" cy="1600438"/>
          </a:xfrm>
          <a:prstGeom prst="rect">
            <a:avLst/>
          </a:prstGeom>
        </p:spPr>
        <p:txBody>
          <a:bodyPr wrap="square" lIns="18288" tIns="0" rIns="18288" bIns="0">
            <a:spAutoFit/>
          </a:bodyPr>
          <a:lstStyle/>
          <a:p>
            <a:r>
              <a:rPr lang="es-MX" altLang="zh-CN" sz="1300" dirty="0"/>
              <a:t>Las soluciones digitales permiten a los equipos de auditoría trabajar en colaboración, incluso si están geográficamente dispersos, lo que aumenta la eficiencia y el intercambio de conocimientos.</a:t>
            </a:r>
          </a:p>
        </p:txBody>
      </p:sp>
      <p:sp>
        <p:nvSpPr>
          <p:cNvPr id="24" name="Rounded Rectangle 136">
            <a:extLst>
              <a:ext uri="{FF2B5EF4-FFF2-40B4-BE49-F238E27FC236}">
                <a16:creationId xmlns:a16="http://schemas.microsoft.com/office/drawing/2014/main" id="{C8A8D9EE-6C41-1DE8-2933-F241DD039ECA}"/>
              </a:ext>
            </a:extLst>
          </p:cNvPr>
          <p:cNvSpPr/>
          <p:nvPr/>
        </p:nvSpPr>
        <p:spPr>
          <a:xfrm>
            <a:off x="557781" y="3864873"/>
            <a:ext cx="2017998" cy="474897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b="1" dirty="0" err="1">
                <a:solidFill>
                  <a:schemeClr val="bg1"/>
                </a:solidFill>
              </a:rPr>
              <a:t>Eficiencia</a:t>
            </a:r>
            <a:r>
              <a:rPr lang="en-GB" sz="1300" b="1" dirty="0">
                <a:solidFill>
                  <a:schemeClr val="bg1"/>
                </a:solidFill>
              </a:rPr>
              <a:t> </a:t>
            </a:r>
            <a:r>
              <a:rPr lang="en-GB" sz="1300" b="1" dirty="0" err="1">
                <a:solidFill>
                  <a:schemeClr val="bg1"/>
                </a:solidFill>
              </a:rPr>
              <a:t>mejorada</a:t>
            </a: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25" name="Rounded Rectangle 136">
            <a:extLst>
              <a:ext uri="{FF2B5EF4-FFF2-40B4-BE49-F238E27FC236}">
                <a16:creationId xmlns:a16="http://schemas.microsoft.com/office/drawing/2014/main" id="{A5CE2349-A9B8-3F22-4AAC-2AAAF57FA6CC}"/>
              </a:ext>
            </a:extLst>
          </p:cNvPr>
          <p:cNvSpPr/>
          <p:nvPr/>
        </p:nvSpPr>
        <p:spPr>
          <a:xfrm>
            <a:off x="2848460" y="3864873"/>
            <a:ext cx="2017998" cy="47489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300" b="1" dirty="0">
                <a:solidFill>
                  <a:schemeClr val="bg1"/>
                </a:solidFill>
              </a:rPr>
              <a:t>Precisión y reducción </a:t>
            </a:r>
            <a:br>
              <a:rPr lang="es-MX" sz="1300" b="1" dirty="0">
                <a:solidFill>
                  <a:schemeClr val="bg1"/>
                </a:solidFill>
              </a:rPr>
            </a:br>
            <a:r>
              <a:rPr lang="es-MX" sz="1300" b="1" dirty="0">
                <a:solidFill>
                  <a:schemeClr val="bg1"/>
                </a:solidFill>
              </a:rPr>
              <a:t>de errores</a:t>
            </a:r>
          </a:p>
        </p:txBody>
      </p:sp>
      <p:sp>
        <p:nvSpPr>
          <p:cNvPr id="26" name="Rounded Rectangle 136">
            <a:extLst>
              <a:ext uri="{FF2B5EF4-FFF2-40B4-BE49-F238E27FC236}">
                <a16:creationId xmlns:a16="http://schemas.microsoft.com/office/drawing/2014/main" id="{72195AB7-CA7C-5A52-1E6A-076B2119517A}"/>
              </a:ext>
            </a:extLst>
          </p:cNvPr>
          <p:cNvSpPr/>
          <p:nvPr/>
        </p:nvSpPr>
        <p:spPr>
          <a:xfrm>
            <a:off x="5139140" y="3864873"/>
            <a:ext cx="2017998" cy="47489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300" b="1" dirty="0">
                <a:solidFill>
                  <a:schemeClr val="bg1"/>
                </a:solidFill>
              </a:rPr>
              <a:t>Acceso en tiempo </a:t>
            </a:r>
            <a:br>
              <a:rPr lang="es-MX" sz="1300" b="1" dirty="0">
                <a:solidFill>
                  <a:schemeClr val="bg1"/>
                </a:solidFill>
              </a:rPr>
            </a:br>
            <a:r>
              <a:rPr lang="es-MX" sz="1300" b="1" dirty="0">
                <a:solidFill>
                  <a:schemeClr val="bg1"/>
                </a:solidFill>
              </a:rPr>
              <a:t>real a datos</a:t>
            </a:r>
          </a:p>
        </p:txBody>
      </p:sp>
      <p:sp>
        <p:nvSpPr>
          <p:cNvPr id="27" name="Rounded Rectangle 136">
            <a:extLst>
              <a:ext uri="{FF2B5EF4-FFF2-40B4-BE49-F238E27FC236}">
                <a16:creationId xmlns:a16="http://schemas.microsoft.com/office/drawing/2014/main" id="{ADA24E2F-9ED8-072F-7EE9-22A3E6ED02A2}"/>
              </a:ext>
            </a:extLst>
          </p:cNvPr>
          <p:cNvSpPr/>
          <p:nvPr/>
        </p:nvSpPr>
        <p:spPr>
          <a:xfrm>
            <a:off x="7429820" y="3864873"/>
            <a:ext cx="2017998" cy="474897"/>
          </a:xfrm>
          <a:prstGeom prst="roundRect">
            <a:avLst>
              <a:gd name="adj" fmla="val 50000"/>
            </a:avLst>
          </a:prstGeom>
          <a:solidFill>
            <a:srgbClr val="43B02A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300" b="1">
                <a:solidFill>
                  <a:schemeClr val="bg1"/>
                </a:solidFill>
              </a:rPr>
              <a:t>Colaboración mejorada</a:t>
            </a:r>
          </a:p>
        </p:txBody>
      </p:sp>
      <p:sp>
        <p:nvSpPr>
          <p:cNvPr id="28" name="Freeform 728">
            <a:extLst>
              <a:ext uri="{FF2B5EF4-FFF2-40B4-BE49-F238E27FC236}">
                <a16:creationId xmlns:a16="http://schemas.microsoft.com/office/drawing/2014/main" id="{0348CBA8-8D47-D8BA-A719-6200D240A092}"/>
              </a:ext>
            </a:extLst>
          </p:cNvPr>
          <p:cNvSpPr>
            <a:spLocks noEditPoints="1"/>
          </p:cNvSpPr>
          <p:nvPr/>
        </p:nvSpPr>
        <p:spPr bwMode="auto">
          <a:xfrm>
            <a:off x="3609024" y="1899077"/>
            <a:ext cx="496871" cy="499472"/>
          </a:xfrm>
          <a:custGeom>
            <a:avLst/>
            <a:gdLst>
              <a:gd name="T0" fmla="*/ 256 w 288"/>
              <a:gd name="T1" fmla="*/ 32 h 288"/>
              <a:gd name="T2" fmla="*/ 245 w 288"/>
              <a:gd name="T3" fmla="*/ 0 h 288"/>
              <a:gd name="T4" fmla="*/ 235 w 288"/>
              <a:gd name="T5" fmla="*/ 39 h 288"/>
              <a:gd name="T6" fmla="*/ 139 w 288"/>
              <a:gd name="T7" fmla="*/ 11 h 288"/>
              <a:gd name="T8" fmla="*/ 44 w 288"/>
              <a:gd name="T9" fmla="*/ 251 h 288"/>
              <a:gd name="T10" fmla="*/ 24 w 288"/>
              <a:gd name="T11" fmla="*/ 285 h 288"/>
              <a:gd name="T12" fmla="*/ 40 w 288"/>
              <a:gd name="T13" fmla="*/ 285 h 288"/>
              <a:gd name="T14" fmla="*/ 139 w 288"/>
              <a:gd name="T15" fmla="*/ 288 h 288"/>
              <a:gd name="T16" fmla="*/ 238 w 288"/>
              <a:gd name="T17" fmla="*/ 285 h 288"/>
              <a:gd name="T18" fmla="*/ 253 w 288"/>
              <a:gd name="T19" fmla="*/ 285 h 288"/>
              <a:gd name="T20" fmla="*/ 233 w 288"/>
              <a:gd name="T21" fmla="*/ 251 h 288"/>
              <a:gd name="T22" fmla="*/ 244 w 288"/>
              <a:gd name="T23" fmla="*/ 60 h 288"/>
              <a:gd name="T24" fmla="*/ 277 w 288"/>
              <a:gd name="T25" fmla="*/ 54 h 288"/>
              <a:gd name="T26" fmla="*/ 277 w 288"/>
              <a:gd name="T27" fmla="*/ 32 h 288"/>
              <a:gd name="T28" fmla="*/ 139 w 288"/>
              <a:gd name="T29" fmla="*/ 267 h 288"/>
              <a:gd name="T30" fmla="*/ 139 w 288"/>
              <a:gd name="T31" fmla="*/ 32 h 288"/>
              <a:gd name="T32" fmla="*/ 199 w 288"/>
              <a:gd name="T33" fmla="*/ 75 h 288"/>
              <a:gd name="T34" fmla="*/ 43 w 288"/>
              <a:gd name="T35" fmla="*/ 150 h 288"/>
              <a:gd name="T36" fmla="*/ 235 w 288"/>
              <a:gd name="T37" fmla="*/ 150 h 288"/>
              <a:gd name="T38" fmla="*/ 229 w 288"/>
              <a:gd name="T39" fmla="*/ 75 h 288"/>
              <a:gd name="T40" fmla="*/ 213 w 288"/>
              <a:gd name="T41" fmla="*/ 150 h 288"/>
              <a:gd name="T42" fmla="*/ 64 w 288"/>
              <a:gd name="T43" fmla="*/ 150 h 288"/>
              <a:gd name="T44" fmla="*/ 183 w 288"/>
              <a:gd name="T45" fmla="*/ 90 h 288"/>
              <a:gd name="T46" fmla="*/ 139 w 288"/>
              <a:gd name="T47" fmla="*/ 96 h 288"/>
              <a:gd name="T48" fmla="*/ 139 w 288"/>
              <a:gd name="T49" fmla="*/ 203 h 288"/>
              <a:gd name="T50" fmla="*/ 183 w 288"/>
              <a:gd name="T51" fmla="*/ 120 h 288"/>
              <a:gd name="T52" fmla="*/ 213 w 288"/>
              <a:gd name="T53" fmla="*/ 150 h 288"/>
              <a:gd name="T54" fmla="*/ 139 w 288"/>
              <a:gd name="T55" fmla="*/ 182 h 288"/>
              <a:gd name="T56" fmla="*/ 139 w 288"/>
              <a:gd name="T57" fmla="*/ 118 h 288"/>
              <a:gd name="T58" fmla="*/ 131 w 288"/>
              <a:gd name="T59" fmla="*/ 142 h 288"/>
              <a:gd name="T60" fmla="*/ 139 w 288"/>
              <a:gd name="T61" fmla="*/ 160 h 288"/>
              <a:gd name="T62" fmla="*/ 167 w 288"/>
              <a:gd name="T63" fmla="*/ 136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88" h="288">
                <a:moveTo>
                  <a:pt x="277" y="32"/>
                </a:moveTo>
                <a:cubicBezTo>
                  <a:pt x="256" y="32"/>
                  <a:pt x="256" y="32"/>
                  <a:pt x="256" y="32"/>
                </a:cubicBezTo>
                <a:cubicBezTo>
                  <a:pt x="256" y="11"/>
                  <a:pt x="256" y="11"/>
                  <a:pt x="256" y="11"/>
                </a:cubicBezTo>
                <a:cubicBezTo>
                  <a:pt x="256" y="5"/>
                  <a:pt x="251" y="0"/>
                  <a:pt x="245" y="0"/>
                </a:cubicBezTo>
                <a:cubicBezTo>
                  <a:pt x="239" y="0"/>
                  <a:pt x="235" y="5"/>
                  <a:pt x="235" y="11"/>
                </a:cubicBezTo>
                <a:cubicBezTo>
                  <a:pt x="235" y="39"/>
                  <a:pt x="235" y="39"/>
                  <a:pt x="235" y="39"/>
                </a:cubicBezTo>
                <a:cubicBezTo>
                  <a:pt x="229" y="44"/>
                  <a:pt x="229" y="44"/>
                  <a:pt x="229" y="44"/>
                </a:cubicBezTo>
                <a:cubicBezTo>
                  <a:pt x="205" y="24"/>
                  <a:pt x="173" y="11"/>
                  <a:pt x="139" y="11"/>
                </a:cubicBezTo>
                <a:cubicBezTo>
                  <a:pt x="62" y="11"/>
                  <a:pt x="0" y="73"/>
                  <a:pt x="0" y="150"/>
                </a:cubicBezTo>
                <a:cubicBezTo>
                  <a:pt x="0" y="189"/>
                  <a:pt x="17" y="225"/>
                  <a:pt x="44" y="251"/>
                </a:cubicBezTo>
                <a:cubicBezTo>
                  <a:pt x="24" y="270"/>
                  <a:pt x="24" y="270"/>
                  <a:pt x="24" y="270"/>
                </a:cubicBezTo>
                <a:cubicBezTo>
                  <a:pt x="20" y="274"/>
                  <a:pt x="20" y="281"/>
                  <a:pt x="24" y="285"/>
                </a:cubicBezTo>
                <a:cubicBezTo>
                  <a:pt x="27" y="287"/>
                  <a:pt x="29" y="288"/>
                  <a:pt x="32" y="288"/>
                </a:cubicBezTo>
                <a:cubicBezTo>
                  <a:pt x="35" y="288"/>
                  <a:pt x="37" y="287"/>
                  <a:pt x="40" y="285"/>
                </a:cubicBezTo>
                <a:cubicBezTo>
                  <a:pt x="61" y="264"/>
                  <a:pt x="61" y="264"/>
                  <a:pt x="61" y="264"/>
                </a:cubicBezTo>
                <a:cubicBezTo>
                  <a:pt x="83" y="279"/>
                  <a:pt x="110" y="288"/>
                  <a:pt x="139" y="288"/>
                </a:cubicBezTo>
                <a:cubicBezTo>
                  <a:pt x="168" y="288"/>
                  <a:pt x="194" y="279"/>
                  <a:pt x="217" y="264"/>
                </a:cubicBezTo>
                <a:cubicBezTo>
                  <a:pt x="238" y="285"/>
                  <a:pt x="238" y="285"/>
                  <a:pt x="238" y="285"/>
                </a:cubicBezTo>
                <a:cubicBezTo>
                  <a:pt x="240" y="287"/>
                  <a:pt x="243" y="288"/>
                  <a:pt x="245" y="288"/>
                </a:cubicBezTo>
                <a:cubicBezTo>
                  <a:pt x="248" y="288"/>
                  <a:pt x="251" y="287"/>
                  <a:pt x="253" y="285"/>
                </a:cubicBezTo>
                <a:cubicBezTo>
                  <a:pt x="257" y="281"/>
                  <a:pt x="257" y="274"/>
                  <a:pt x="253" y="270"/>
                </a:cubicBezTo>
                <a:cubicBezTo>
                  <a:pt x="233" y="251"/>
                  <a:pt x="233" y="251"/>
                  <a:pt x="233" y="251"/>
                </a:cubicBezTo>
                <a:cubicBezTo>
                  <a:pt x="260" y="225"/>
                  <a:pt x="277" y="189"/>
                  <a:pt x="277" y="150"/>
                </a:cubicBezTo>
                <a:cubicBezTo>
                  <a:pt x="277" y="115"/>
                  <a:pt x="265" y="84"/>
                  <a:pt x="244" y="60"/>
                </a:cubicBezTo>
                <a:cubicBezTo>
                  <a:pt x="250" y="54"/>
                  <a:pt x="250" y="54"/>
                  <a:pt x="250" y="54"/>
                </a:cubicBezTo>
                <a:cubicBezTo>
                  <a:pt x="277" y="54"/>
                  <a:pt x="277" y="54"/>
                  <a:pt x="277" y="54"/>
                </a:cubicBezTo>
                <a:cubicBezTo>
                  <a:pt x="283" y="54"/>
                  <a:pt x="288" y="49"/>
                  <a:pt x="288" y="43"/>
                </a:cubicBezTo>
                <a:cubicBezTo>
                  <a:pt x="288" y="37"/>
                  <a:pt x="283" y="32"/>
                  <a:pt x="277" y="32"/>
                </a:cubicBezTo>
                <a:close/>
                <a:moveTo>
                  <a:pt x="256" y="150"/>
                </a:moveTo>
                <a:cubicBezTo>
                  <a:pt x="256" y="214"/>
                  <a:pt x="203" y="267"/>
                  <a:pt x="139" y="267"/>
                </a:cubicBezTo>
                <a:cubicBezTo>
                  <a:pt x="74" y="267"/>
                  <a:pt x="21" y="214"/>
                  <a:pt x="21" y="150"/>
                </a:cubicBezTo>
                <a:cubicBezTo>
                  <a:pt x="21" y="85"/>
                  <a:pt x="74" y="32"/>
                  <a:pt x="139" y="32"/>
                </a:cubicBezTo>
                <a:cubicBezTo>
                  <a:pt x="167" y="32"/>
                  <a:pt x="193" y="43"/>
                  <a:pt x="214" y="60"/>
                </a:cubicBezTo>
                <a:cubicBezTo>
                  <a:pt x="199" y="75"/>
                  <a:pt x="199" y="75"/>
                  <a:pt x="199" y="75"/>
                </a:cubicBezTo>
                <a:cubicBezTo>
                  <a:pt x="182" y="62"/>
                  <a:pt x="161" y="54"/>
                  <a:pt x="139" y="54"/>
                </a:cubicBezTo>
                <a:cubicBezTo>
                  <a:pt x="86" y="54"/>
                  <a:pt x="43" y="97"/>
                  <a:pt x="43" y="150"/>
                </a:cubicBezTo>
                <a:cubicBezTo>
                  <a:pt x="43" y="203"/>
                  <a:pt x="86" y="246"/>
                  <a:pt x="139" y="246"/>
                </a:cubicBezTo>
                <a:cubicBezTo>
                  <a:pt x="192" y="246"/>
                  <a:pt x="235" y="203"/>
                  <a:pt x="235" y="150"/>
                </a:cubicBezTo>
                <a:cubicBezTo>
                  <a:pt x="235" y="127"/>
                  <a:pt x="227" y="106"/>
                  <a:pt x="214" y="90"/>
                </a:cubicBezTo>
                <a:cubicBezTo>
                  <a:pt x="229" y="75"/>
                  <a:pt x="229" y="75"/>
                  <a:pt x="229" y="75"/>
                </a:cubicBezTo>
                <a:cubicBezTo>
                  <a:pt x="246" y="95"/>
                  <a:pt x="256" y="121"/>
                  <a:pt x="256" y="150"/>
                </a:cubicBezTo>
                <a:close/>
                <a:moveTo>
                  <a:pt x="213" y="150"/>
                </a:moveTo>
                <a:cubicBezTo>
                  <a:pt x="213" y="191"/>
                  <a:pt x="180" y="224"/>
                  <a:pt x="139" y="224"/>
                </a:cubicBezTo>
                <a:cubicBezTo>
                  <a:pt x="97" y="224"/>
                  <a:pt x="64" y="191"/>
                  <a:pt x="64" y="150"/>
                </a:cubicBezTo>
                <a:cubicBezTo>
                  <a:pt x="64" y="108"/>
                  <a:pt x="97" y="75"/>
                  <a:pt x="139" y="75"/>
                </a:cubicBezTo>
                <a:cubicBezTo>
                  <a:pt x="155" y="75"/>
                  <a:pt x="171" y="81"/>
                  <a:pt x="183" y="90"/>
                </a:cubicBezTo>
                <a:cubicBezTo>
                  <a:pt x="168" y="105"/>
                  <a:pt x="168" y="105"/>
                  <a:pt x="168" y="105"/>
                </a:cubicBezTo>
                <a:cubicBezTo>
                  <a:pt x="160" y="100"/>
                  <a:pt x="150" y="96"/>
                  <a:pt x="139" y="96"/>
                </a:cubicBezTo>
                <a:cubicBezTo>
                  <a:pt x="109" y="96"/>
                  <a:pt x="85" y="120"/>
                  <a:pt x="85" y="150"/>
                </a:cubicBezTo>
                <a:cubicBezTo>
                  <a:pt x="85" y="179"/>
                  <a:pt x="109" y="203"/>
                  <a:pt x="139" y="203"/>
                </a:cubicBezTo>
                <a:cubicBezTo>
                  <a:pt x="168" y="203"/>
                  <a:pt x="192" y="179"/>
                  <a:pt x="192" y="150"/>
                </a:cubicBezTo>
                <a:cubicBezTo>
                  <a:pt x="192" y="139"/>
                  <a:pt x="189" y="129"/>
                  <a:pt x="183" y="120"/>
                </a:cubicBezTo>
                <a:cubicBezTo>
                  <a:pt x="198" y="105"/>
                  <a:pt x="198" y="105"/>
                  <a:pt x="198" y="105"/>
                </a:cubicBezTo>
                <a:cubicBezTo>
                  <a:pt x="208" y="118"/>
                  <a:pt x="213" y="133"/>
                  <a:pt x="213" y="150"/>
                </a:cubicBezTo>
                <a:close/>
                <a:moveTo>
                  <a:pt x="171" y="150"/>
                </a:moveTo>
                <a:cubicBezTo>
                  <a:pt x="171" y="167"/>
                  <a:pt x="156" y="182"/>
                  <a:pt x="139" y="182"/>
                </a:cubicBezTo>
                <a:cubicBezTo>
                  <a:pt x="121" y="182"/>
                  <a:pt x="107" y="167"/>
                  <a:pt x="107" y="150"/>
                </a:cubicBezTo>
                <a:cubicBezTo>
                  <a:pt x="107" y="132"/>
                  <a:pt x="121" y="118"/>
                  <a:pt x="139" y="118"/>
                </a:cubicBezTo>
                <a:cubicBezTo>
                  <a:pt x="144" y="118"/>
                  <a:pt x="148" y="119"/>
                  <a:pt x="152" y="121"/>
                </a:cubicBezTo>
                <a:cubicBezTo>
                  <a:pt x="131" y="142"/>
                  <a:pt x="131" y="142"/>
                  <a:pt x="131" y="142"/>
                </a:cubicBezTo>
                <a:cubicBezTo>
                  <a:pt x="127" y="146"/>
                  <a:pt x="127" y="153"/>
                  <a:pt x="131" y="157"/>
                </a:cubicBezTo>
                <a:cubicBezTo>
                  <a:pt x="133" y="159"/>
                  <a:pt x="136" y="160"/>
                  <a:pt x="139" y="160"/>
                </a:cubicBezTo>
                <a:cubicBezTo>
                  <a:pt x="141" y="160"/>
                  <a:pt x="144" y="159"/>
                  <a:pt x="146" y="157"/>
                </a:cubicBezTo>
                <a:cubicBezTo>
                  <a:pt x="167" y="136"/>
                  <a:pt x="167" y="136"/>
                  <a:pt x="167" y="136"/>
                </a:cubicBezTo>
                <a:cubicBezTo>
                  <a:pt x="169" y="140"/>
                  <a:pt x="171" y="145"/>
                  <a:pt x="171" y="1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/>
          </a:p>
        </p:txBody>
      </p:sp>
      <p:sp>
        <p:nvSpPr>
          <p:cNvPr id="31" name="椭圆 43">
            <a:extLst>
              <a:ext uri="{FF2B5EF4-FFF2-40B4-BE49-F238E27FC236}">
                <a16:creationId xmlns:a16="http://schemas.microsoft.com/office/drawing/2014/main" id="{2B68F83C-A043-4D26-195A-F341E7B2BC17}"/>
              </a:ext>
            </a:extLst>
          </p:cNvPr>
          <p:cNvSpPr/>
          <p:nvPr/>
        </p:nvSpPr>
        <p:spPr bwMode="gray">
          <a:xfrm>
            <a:off x="9977786" y="1753993"/>
            <a:ext cx="1508219" cy="1508219"/>
          </a:xfrm>
          <a:prstGeom prst="ellipse">
            <a:avLst/>
          </a:prstGeom>
          <a:noFill/>
          <a:ln w="3810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32" name="任意多边形 44">
            <a:extLst>
              <a:ext uri="{FF2B5EF4-FFF2-40B4-BE49-F238E27FC236}">
                <a16:creationId xmlns:a16="http://schemas.microsoft.com/office/drawing/2014/main" id="{5198F111-E0CB-B7BF-B0B7-B752914DD8FD}"/>
              </a:ext>
            </a:extLst>
          </p:cNvPr>
          <p:cNvSpPr/>
          <p:nvPr/>
        </p:nvSpPr>
        <p:spPr bwMode="gray">
          <a:xfrm>
            <a:off x="10056647" y="2508101"/>
            <a:ext cx="1350498" cy="675249"/>
          </a:xfrm>
          <a:custGeom>
            <a:avLst/>
            <a:gdLst>
              <a:gd name="connsiteX0" fmla="*/ 0 w 1548000"/>
              <a:gd name="connsiteY0" fmla="*/ 0 h 774000"/>
              <a:gd name="connsiteX1" fmla="*/ 1548000 w 1548000"/>
              <a:gd name="connsiteY1" fmla="*/ 0 h 774000"/>
              <a:gd name="connsiteX2" fmla="*/ 774000 w 1548000"/>
              <a:gd name="connsiteY2" fmla="*/ 774000 h 774000"/>
              <a:gd name="connsiteX3" fmla="*/ 0 w 1548000"/>
              <a:gd name="connsiteY3" fmla="*/ 0 h 7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000" h="774000">
                <a:moveTo>
                  <a:pt x="0" y="0"/>
                </a:moveTo>
                <a:lnTo>
                  <a:pt x="1548000" y="0"/>
                </a:lnTo>
                <a:cubicBezTo>
                  <a:pt x="1548000" y="427468"/>
                  <a:pt x="1201468" y="774000"/>
                  <a:pt x="774000" y="774000"/>
                </a:cubicBezTo>
                <a:cubicBezTo>
                  <a:pt x="346532" y="774000"/>
                  <a:pt x="0" y="427468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zh-CN" altLang="en-US" sz="1300" b="1" dirty="0">
              <a:solidFill>
                <a:schemeClr val="bg1"/>
              </a:solidFill>
            </a:endParaRPr>
          </a:p>
        </p:txBody>
      </p:sp>
      <p:cxnSp>
        <p:nvCxnSpPr>
          <p:cNvPr id="33" name="直接连接符 45">
            <a:extLst>
              <a:ext uri="{FF2B5EF4-FFF2-40B4-BE49-F238E27FC236}">
                <a16:creationId xmlns:a16="http://schemas.microsoft.com/office/drawing/2014/main" id="{54685217-5D47-59CC-64F4-8A0D2FAF7642}"/>
              </a:ext>
            </a:extLst>
          </p:cNvPr>
          <p:cNvCxnSpPr/>
          <p:nvPr/>
        </p:nvCxnSpPr>
        <p:spPr>
          <a:xfrm>
            <a:off x="10731876" y="3262211"/>
            <a:ext cx="40" cy="622766"/>
          </a:xfrm>
          <a:prstGeom prst="line">
            <a:avLst/>
          </a:prstGeom>
          <a:ln w="28575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160">
            <a:extLst>
              <a:ext uri="{FF2B5EF4-FFF2-40B4-BE49-F238E27FC236}">
                <a16:creationId xmlns:a16="http://schemas.microsoft.com/office/drawing/2014/main" id="{F9273DD0-57D2-E898-027D-83F911D85A44}"/>
              </a:ext>
            </a:extLst>
          </p:cNvPr>
          <p:cNvSpPr/>
          <p:nvPr/>
        </p:nvSpPr>
        <p:spPr>
          <a:xfrm>
            <a:off x="9722897" y="4563984"/>
            <a:ext cx="2017998" cy="1400383"/>
          </a:xfrm>
          <a:prstGeom prst="rect">
            <a:avLst/>
          </a:prstGeom>
        </p:spPr>
        <p:txBody>
          <a:bodyPr wrap="square" lIns="18288" tIns="0" rIns="18288" bIns="0">
            <a:spAutoFit/>
          </a:bodyPr>
          <a:lstStyle/>
          <a:p>
            <a:r>
              <a:rPr lang="es-MX" altLang="zh-CN" sz="1300" dirty="0"/>
              <a:t>Las soluciones digitales pueden ser configuradas para cumplir con los requisitos normativos en constante evolución, lo que  reduce el riesgo de incumplimiento fiscal.</a:t>
            </a:r>
          </a:p>
        </p:txBody>
      </p:sp>
      <p:sp>
        <p:nvSpPr>
          <p:cNvPr id="35" name="Rounded Rectangle 136">
            <a:extLst>
              <a:ext uri="{FF2B5EF4-FFF2-40B4-BE49-F238E27FC236}">
                <a16:creationId xmlns:a16="http://schemas.microsoft.com/office/drawing/2014/main" id="{FEEABB05-3EA9-2705-E66F-99AA0599B67C}"/>
              </a:ext>
            </a:extLst>
          </p:cNvPr>
          <p:cNvSpPr/>
          <p:nvPr/>
        </p:nvSpPr>
        <p:spPr>
          <a:xfrm>
            <a:off x="9722897" y="3884977"/>
            <a:ext cx="2017998" cy="47489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300" b="1">
                <a:solidFill>
                  <a:schemeClr val="bg1"/>
                </a:solidFill>
              </a:rPr>
              <a:t>Cumplimiento normativo</a:t>
            </a:r>
          </a:p>
        </p:txBody>
      </p:sp>
      <p:grpSp>
        <p:nvGrpSpPr>
          <p:cNvPr id="38" name="Graphic 4">
            <a:extLst>
              <a:ext uri="{FF2B5EF4-FFF2-40B4-BE49-F238E27FC236}">
                <a16:creationId xmlns:a16="http://schemas.microsoft.com/office/drawing/2014/main" id="{93F8D0CB-F336-26EA-24B0-D8C3803B8A04}"/>
              </a:ext>
            </a:extLst>
          </p:cNvPr>
          <p:cNvGrpSpPr/>
          <p:nvPr/>
        </p:nvGrpSpPr>
        <p:grpSpPr>
          <a:xfrm>
            <a:off x="1302858" y="1890876"/>
            <a:ext cx="527801" cy="525418"/>
            <a:chOff x="532281" y="4858373"/>
            <a:chExt cx="231955" cy="231100"/>
          </a:xfrm>
          <a:solidFill>
            <a:schemeClr val="tx1"/>
          </a:solidFill>
        </p:grpSpPr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CF5A021B-2CE6-B1F2-C21B-AF0A1E970822}"/>
                </a:ext>
              </a:extLst>
            </p:cNvPr>
            <p:cNvSpPr/>
            <p:nvPr/>
          </p:nvSpPr>
          <p:spPr>
            <a:xfrm>
              <a:off x="642188" y="4858373"/>
              <a:ext cx="12779" cy="67670"/>
            </a:xfrm>
            <a:custGeom>
              <a:avLst/>
              <a:gdLst>
                <a:gd name="connsiteX0" fmla="*/ 6390 w 12779"/>
                <a:gd name="connsiteY0" fmla="*/ 0 h 67670"/>
                <a:gd name="connsiteX1" fmla="*/ 0 w 12779"/>
                <a:gd name="connsiteY1" fmla="*/ 6384 h 67670"/>
                <a:gd name="connsiteX2" fmla="*/ 0 w 12779"/>
                <a:gd name="connsiteY2" fmla="*/ 61286 h 67670"/>
                <a:gd name="connsiteX3" fmla="*/ 6390 w 12779"/>
                <a:gd name="connsiteY3" fmla="*/ 67670 h 67670"/>
                <a:gd name="connsiteX4" fmla="*/ 12780 w 12779"/>
                <a:gd name="connsiteY4" fmla="*/ 61286 h 67670"/>
                <a:gd name="connsiteX5" fmla="*/ 12780 w 12779"/>
                <a:gd name="connsiteY5" fmla="*/ 6384 h 67670"/>
                <a:gd name="connsiteX6" fmla="*/ 6390 w 12779"/>
                <a:gd name="connsiteY6" fmla="*/ 0 h 6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7670">
                  <a:moveTo>
                    <a:pt x="6390" y="0"/>
                  </a:moveTo>
                  <a:cubicBezTo>
                    <a:pt x="2556" y="0"/>
                    <a:pt x="0" y="2553"/>
                    <a:pt x="0" y="6384"/>
                  </a:cubicBezTo>
                  <a:lnTo>
                    <a:pt x="0" y="61286"/>
                  </a:lnTo>
                  <a:cubicBezTo>
                    <a:pt x="0" y="65116"/>
                    <a:pt x="2556" y="67670"/>
                    <a:pt x="6390" y="67670"/>
                  </a:cubicBezTo>
                  <a:cubicBezTo>
                    <a:pt x="10224" y="67670"/>
                    <a:pt x="12780" y="65116"/>
                    <a:pt x="12780" y="61286"/>
                  </a:cubicBezTo>
                  <a:lnTo>
                    <a:pt x="12780" y="6384"/>
                  </a:lnTo>
                  <a:cubicBezTo>
                    <a:pt x="12780" y="2553"/>
                    <a:pt x="9585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502A0EFB-315B-0ED4-742D-1EC82B75F3D4}"/>
                </a:ext>
              </a:extLst>
            </p:cNvPr>
            <p:cNvSpPr/>
            <p:nvPr/>
          </p:nvSpPr>
          <p:spPr>
            <a:xfrm>
              <a:off x="681167" y="4890133"/>
              <a:ext cx="51468" cy="51231"/>
            </a:xfrm>
            <a:custGeom>
              <a:avLst/>
              <a:gdLst>
                <a:gd name="connsiteX0" fmla="*/ 6390 w 51468"/>
                <a:gd name="connsiteY0" fmla="*/ 51232 h 51231"/>
                <a:gd name="connsiteX1" fmla="*/ 10863 w 51468"/>
                <a:gd name="connsiteY1" fmla="*/ 49316 h 51231"/>
                <a:gd name="connsiteX2" fmla="*/ 49842 w 51468"/>
                <a:gd name="connsiteY2" fmla="*/ 10374 h 51231"/>
                <a:gd name="connsiteX3" fmla="*/ 49203 w 51468"/>
                <a:gd name="connsiteY3" fmla="*/ 1436 h 51231"/>
                <a:gd name="connsiteX4" fmla="*/ 40896 w 51468"/>
                <a:gd name="connsiteY4" fmla="*/ 1436 h 51231"/>
                <a:gd name="connsiteX5" fmla="*/ 1917 w 51468"/>
                <a:gd name="connsiteY5" fmla="*/ 40379 h 51231"/>
                <a:gd name="connsiteX6" fmla="*/ 1917 w 51468"/>
                <a:gd name="connsiteY6" fmla="*/ 49316 h 51231"/>
                <a:gd name="connsiteX7" fmla="*/ 1917 w 51468"/>
                <a:gd name="connsiteY7" fmla="*/ 49316 h 51231"/>
                <a:gd name="connsiteX8" fmla="*/ 6390 w 51468"/>
                <a:gd name="connsiteY8" fmla="*/ 51232 h 51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68" h="51231">
                  <a:moveTo>
                    <a:pt x="6390" y="51232"/>
                  </a:moveTo>
                  <a:cubicBezTo>
                    <a:pt x="8307" y="51232"/>
                    <a:pt x="9585" y="50593"/>
                    <a:pt x="10863" y="49316"/>
                  </a:cubicBezTo>
                  <a:lnTo>
                    <a:pt x="49842" y="10374"/>
                  </a:lnTo>
                  <a:cubicBezTo>
                    <a:pt x="52398" y="7820"/>
                    <a:pt x="51758" y="3352"/>
                    <a:pt x="49203" y="1436"/>
                  </a:cubicBezTo>
                  <a:cubicBezTo>
                    <a:pt x="46647" y="-479"/>
                    <a:pt x="43452" y="-479"/>
                    <a:pt x="40896" y="1436"/>
                  </a:cubicBezTo>
                  <a:lnTo>
                    <a:pt x="1917" y="40379"/>
                  </a:lnTo>
                  <a:cubicBezTo>
                    <a:pt x="-639" y="42932"/>
                    <a:pt x="-639" y="46763"/>
                    <a:pt x="1917" y="49316"/>
                  </a:cubicBezTo>
                  <a:cubicBezTo>
                    <a:pt x="1917" y="49316"/>
                    <a:pt x="1917" y="49316"/>
                    <a:pt x="1917" y="49316"/>
                  </a:cubicBezTo>
                  <a:cubicBezTo>
                    <a:pt x="3195" y="50593"/>
                    <a:pt x="4473" y="51232"/>
                    <a:pt x="6390" y="5123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45B12798-38D1-8DE1-F29C-3C524F71D98B}"/>
                </a:ext>
              </a:extLst>
            </p:cNvPr>
            <p:cNvSpPr/>
            <p:nvPr/>
          </p:nvSpPr>
          <p:spPr>
            <a:xfrm>
              <a:off x="696503" y="4967539"/>
              <a:ext cx="67733" cy="12767"/>
            </a:xfrm>
            <a:custGeom>
              <a:avLst/>
              <a:gdLst>
                <a:gd name="connsiteX0" fmla="*/ 61343 w 67733"/>
                <a:gd name="connsiteY0" fmla="*/ 0 h 12767"/>
                <a:gd name="connsiteX1" fmla="*/ 6390 w 67733"/>
                <a:gd name="connsiteY1" fmla="*/ 0 h 12767"/>
                <a:gd name="connsiteX2" fmla="*/ 0 w 67733"/>
                <a:gd name="connsiteY2" fmla="*/ 6384 h 12767"/>
                <a:gd name="connsiteX3" fmla="*/ 6390 w 67733"/>
                <a:gd name="connsiteY3" fmla="*/ 12768 h 12767"/>
                <a:gd name="connsiteX4" fmla="*/ 61343 w 67733"/>
                <a:gd name="connsiteY4" fmla="*/ 12768 h 12767"/>
                <a:gd name="connsiteX5" fmla="*/ 67733 w 67733"/>
                <a:gd name="connsiteY5" fmla="*/ 6384 h 12767"/>
                <a:gd name="connsiteX6" fmla="*/ 61343 w 67733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33" h="12767">
                  <a:moveTo>
                    <a:pt x="6134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61343" y="12768"/>
                  </a:lnTo>
                  <a:cubicBezTo>
                    <a:pt x="65177" y="12768"/>
                    <a:pt x="67733" y="10214"/>
                    <a:pt x="67733" y="6384"/>
                  </a:cubicBezTo>
                  <a:cubicBezTo>
                    <a:pt x="67733" y="2554"/>
                    <a:pt x="65177" y="0"/>
                    <a:pt x="6134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37D8065F-478A-E8AF-40AC-BB14CAF566CB}"/>
                </a:ext>
              </a:extLst>
            </p:cNvPr>
            <p:cNvSpPr/>
            <p:nvPr/>
          </p:nvSpPr>
          <p:spPr>
            <a:xfrm>
              <a:off x="681167" y="5006481"/>
              <a:ext cx="51758" cy="51710"/>
            </a:xfrm>
            <a:custGeom>
              <a:avLst/>
              <a:gdLst>
                <a:gd name="connsiteX0" fmla="*/ 10863 w 51758"/>
                <a:gd name="connsiteY0" fmla="*/ 1915 h 51710"/>
                <a:gd name="connsiteX1" fmla="*/ 1917 w 51758"/>
                <a:gd name="connsiteY1" fmla="*/ 1915 h 51710"/>
                <a:gd name="connsiteX2" fmla="*/ 1917 w 51758"/>
                <a:gd name="connsiteY2" fmla="*/ 10853 h 51710"/>
                <a:gd name="connsiteX3" fmla="*/ 1917 w 51758"/>
                <a:gd name="connsiteY3" fmla="*/ 10853 h 51710"/>
                <a:gd name="connsiteX4" fmla="*/ 40896 w 51758"/>
                <a:gd name="connsiteY4" fmla="*/ 49795 h 51710"/>
                <a:gd name="connsiteX5" fmla="*/ 45369 w 51758"/>
                <a:gd name="connsiteY5" fmla="*/ 51710 h 51710"/>
                <a:gd name="connsiteX6" fmla="*/ 49842 w 51758"/>
                <a:gd name="connsiteY6" fmla="*/ 49795 h 51710"/>
                <a:gd name="connsiteX7" fmla="*/ 49842 w 51758"/>
                <a:gd name="connsiteY7" fmla="*/ 40857 h 51710"/>
                <a:gd name="connsiteX8" fmla="*/ 10863 w 51758"/>
                <a:gd name="connsiteY8" fmla="*/ 1915 h 5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58" h="51710">
                  <a:moveTo>
                    <a:pt x="10863" y="1915"/>
                  </a:moveTo>
                  <a:cubicBezTo>
                    <a:pt x="8307" y="-638"/>
                    <a:pt x="4473" y="-638"/>
                    <a:pt x="1917" y="1915"/>
                  </a:cubicBezTo>
                  <a:cubicBezTo>
                    <a:pt x="-639" y="4469"/>
                    <a:pt x="-639" y="8299"/>
                    <a:pt x="1917" y="10853"/>
                  </a:cubicBezTo>
                  <a:cubicBezTo>
                    <a:pt x="1917" y="10853"/>
                    <a:pt x="1917" y="10853"/>
                    <a:pt x="1917" y="10853"/>
                  </a:cubicBezTo>
                  <a:lnTo>
                    <a:pt x="40896" y="49795"/>
                  </a:lnTo>
                  <a:cubicBezTo>
                    <a:pt x="42174" y="51072"/>
                    <a:pt x="43452" y="51710"/>
                    <a:pt x="45369" y="51710"/>
                  </a:cubicBezTo>
                  <a:cubicBezTo>
                    <a:pt x="47286" y="51710"/>
                    <a:pt x="48564" y="51072"/>
                    <a:pt x="49842" y="49795"/>
                  </a:cubicBezTo>
                  <a:cubicBezTo>
                    <a:pt x="52398" y="47241"/>
                    <a:pt x="52398" y="43411"/>
                    <a:pt x="49842" y="40857"/>
                  </a:cubicBezTo>
                  <a:lnTo>
                    <a:pt x="10863" y="191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E6389702-8007-78BE-FCD5-05D03AA672B6}"/>
                </a:ext>
              </a:extLst>
            </p:cNvPr>
            <p:cNvSpPr/>
            <p:nvPr/>
          </p:nvSpPr>
          <p:spPr>
            <a:xfrm>
              <a:off x="642188" y="5021803"/>
              <a:ext cx="12779" cy="67670"/>
            </a:xfrm>
            <a:custGeom>
              <a:avLst/>
              <a:gdLst>
                <a:gd name="connsiteX0" fmla="*/ 6390 w 12779"/>
                <a:gd name="connsiteY0" fmla="*/ 0 h 67670"/>
                <a:gd name="connsiteX1" fmla="*/ 0 w 12779"/>
                <a:gd name="connsiteY1" fmla="*/ 6384 h 67670"/>
                <a:gd name="connsiteX2" fmla="*/ 0 w 12779"/>
                <a:gd name="connsiteY2" fmla="*/ 61286 h 67670"/>
                <a:gd name="connsiteX3" fmla="*/ 6390 w 12779"/>
                <a:gd name="connsiteY3" fmla="*/ 67670 h 67670"/>
                <a:gd name="connsiteX4" fmla="*/ 12780 w 12779"/>
                <a:gd name="connsiteY4" fmla="*/ 61286 h 67670"/>
                <a:gd name="connsiteX5" fmla="*/ 12780 w 12779"/>
                <a:gd name="connsiteY5" fmla="*/ 6384 h 67670"/>
                <a:gd name="connsiteX6" fmla="*/ 6390 w 12779"/>
                <a:gd name="connsiteY6" fmla="*/ 0 h 6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7670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61286"/>
                  </a:lnTo>
                  <a:cubicBezTo>
                    <a:pt x="0" y="65117"/>
                    <a:pt x="2556" y="67670"/>
                    <a:pt x="6390" y="67670"/>
                  </a:cubicBezTo>
                  <a:cubicBezTo>
                    <a:pt x="10224" y="67670"/>
                    <a:pt x="12780" y="65117"/>
                    <a:pt x="12780" y="61286"/>
                  </a:cubicBezTo>
                  <a:lnTo>
                    <a:pt x="12780" y="6384"/>
                  </a:lnTo>
                  <a:cubicBezTo>
                    <a:pt x="12780" y="3192"/>
                    <a:pt x="9585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20D98C24-D5FC-1CF5-3AE6-AF3B5019216D}"/>
                </a:ext>
              </a:extLst>
            </p:cNvPr>
            <p:cNvSpPr/>
            <p:nvPr/>
          </p:nvSpPr>
          <p:spPr>
            <a:xfrm>
              <a:off x="564231" y="5006481"/>
              <a:ext cx="51758" cy="51710"/>
            </a:xfrm>
            <a:custGeom>
              <a:avLst/>
              <a:gdLst>
                <a:gd name="connsiteX0" fmla="*/ 40896 w 51758"/>
                <a:gd name="connsiteY0" fmla="*/ 1915 h 51710"/>
                <a:gd name="connsiteX1" fmla="*/ 1917 w 51758"/>
                <a:gd name="connsiteY1" fmla="*/ 40857 h 51710"/>
                <a:gd name="connsiteX2" fmla="*/ 1917 w 51758"/>
                <a:gd name="connsiteY2" fmla="*/ 49795 h 51710"/>
                <a:gd name="connsiteX3" fmla="*/ 10863 w 51758"/>
                <a:gd name="connsiteY3" fmla="*/ 49795 h 51710"/>
                <a:gd name="connsiteX4" fmla="*/ 49842 w 51758"/>
                <a:gd name="connsiteY4" fmla="*/ 10853 h 51710"/>
                <a:gd name="connsiteX5" fmla="*/ 49842 w 51758"/>
                <a:gd name="connsiteY5" fmla="*/ 1915 h 51710"/>
                <a:gd name="connsiteX6" fmla="*/ 40896 w 51758"/>
                <a:gd name="connsiteY6" fmla="*/ 1915 h 51710"/>
                <a:gd name="connsiteX7" fmla="*/ 40896 w 51758"/>
                <a:gd name="connsiteY7" fmla="*/ 1915 h 5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758" h="51710">
                  <a:moveTo>
                    <a:pt x="40896" y="1915"/>
                  </a:moveTo>
                  <a:lnTo>
                    <a:pt x="1917" y="40857"/>
                  </a:lnTo>
                  <a:cubicBezTo>
                    <a:pt x="-639" y="43411"/>
                    <a:pt x="-639" y="47241"/>
                    <a:pt x="1917" y="49795"/>
                  </a:cubicBezTo>
                  <a:cubicBezTo>
                    <a:pt x="4473" y="52349"/>
                    <a:pt x="8307" y="52349"/>
                    <a:pt x="10863" y="49795"/>
                  </a:cubicBezTo>
                  <a:lnTo>
                    <a:pt x="49842" y="10853"/>
                  </a:lnTo>
                  <a:cubicBezTo>
                    <a:pt x="52398" y="8299"/>
                    <a:pt x="52398" y="4469"/>
                    <a:pt x="49842" y="1915"/>
                  </a:cubicBezTo>
                  <a:cubicBezTo>
                    <a:pt x="47286" y="-638"/>
                    <a:pt x="43452" y="-638"/>
                    <a:pt x="40896" y="1915"/>
                  </a:cubicBezTo>
                  <a:lnTo>
                    <a:pt x="40896" y="191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585BC747-3767-5496-08CA-A247823A71EB}"/>
                </a:ext>
              </a:extLst>
            </p:cNvPr>
            <p:cNvSpPr/>
            <p:nvPr/>
          </p:nvSpPr>
          <p:spPr>
            <a:xfrm>
              <a:off x="532281" y="4967539"/>
              <a:ext cx="67733" cy="12767"/>
            </a:xfrm>
            <a:custGeom>
              <a:avLst/>
              <a:gdLst>
                <a:gd name="connsiteX0" fmla="*/ 67733 w 67733"/>
                <a:gd name="connsiteY0" fmla="*/ 6384 h 12767"/>
                <a:gd name="connsiteX1" fmla="*/ 61343 w 67733"/>
                <a:gd name="connsiteY1" fmla="*/ 0 h 12767"/>
                <a:gd name="connsiteX2" fmla="*/ 6390 w 67733"/>
                <a:gd name="connsiteY2" fmla="*/ 0 h 12767"/>
                <a:gd name="connsiteX3" fmla="*/ 0 w 67733"/>
                <a:gd name="connsiteY3" fmla="*/ 6384 h 12767"/>
                <a:gd name="connsiteX4" fmla="*/ 6390 w 67733"/>
                <a:gd name="connsiteY4" fmla="*/ 12768 h 12767"/>
                <a:gd name="connsiteX5" fmla="*/ 61343 w 67733"/>
                <a:gd name="connsiteY5" fmla="*/ 12768 h 12767"/>
                <a:gd name="connsiteX6" fmla="*/ 67733 w 67733"/>
                <a:gd name="connsiteY6" fmla="*/ 6384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33" h="12767">
                  <a:moveTo>
                    <a:pt x="67733" y="6384"/>
                  </a:moveTo>
                  <a:cubicBezTo>
                    <a:pt x="67733" y="2554"/>
                    <a:pt x="65177" y="0"/>
                    <a:pt x="61343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61343" y="12768"/>
                  </a:lnTo>
                  <a:cubicBezTo>
                    <a:pt x="65177" y="12768"/>
                    <a:pt x="67733" y="9576"/>
                    <a:pt x="67733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aphic 4">
            <a:extLst>
              <a:ext uri="{FF2B5EF4-FFF2-40B4-BE49-F238E27FC236}">
                <a16:creationId xmlns:a16="http://schemas.microsoft.com/office/drawing/2014/main" id="{89B65157-0CD9-C1DE-998F-64CF93D061B5}"/>
              </a:ext>
            </a:extLst>
          </p:cNvPr>
          <p:cNvGrpSpPr/>
          <p:nvPr/>
        </p:nvGrpSpPr>
        <p:grpSpPr>
          <a:xfrm>
            <a:off x="5864453" y="1934442"/>
            <a:ext cx="553034" cy="438334"/>
            <a:chOff x="1574480" y="4392980"/>
            <a:chExt cx="243474" cy="192797"/>
          </a:xfrm>
          <a:solidFill>
            <a:srgbClr val="86BC25"/>
          </a:solidFill>
        </p:grpSpPr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E9A74FD5-92CB-F86F-97C4-5A097C70E999}"/>
                </a:ext>
              </a:extLst>
            </p:cNvPr>
            <p:cNvSpPr/>
            <p:nvPr/>
          </p:nvSpPr>
          <p:spPr>
            <a:xfrm>
              <a:off x="1664578" y="4458257"/>
              <a:ext cx="62621" cy="127520"/>
            </a:xfrm>
            <a:custGeom>
              <a:avLst/>
              <a:gdLst>
                <a:gd name="connsiteX0" fmla="*/ 60704 w 62621"/>
                <a:gd name="connsiteY0" fmla="*/ 26653 h 127520"/>
                <a:gd name="connsiteX1" fmla="*/ 35784 w 62621"/>
                <a:gd name="connsiteY1" fmla="*/ 1756 h 127520"/>
                <a:gd name="connsiteX2" fmla="*/ 33867 w 62621"/>
                <a:gd name="connsiteY2" fmla="*/ 479 h 127520"/>
                <a:gd name="connsiteX3" fmla="*/ 28755 w 62621"/>
                <a:gd name="connsiteY3" fmla="*/ 479 h 127520"/>
                <a:gd name="connsiteX4" fmla="*/ 26838 w 62621"/>
                <a:gd name="connsiteY4" fmla="*/ 1756 h 127520"/>
                <a:gd name="connsiteX5" fmla="*/ 1917 w 62621"/>
                <a:gd name="connsiteY5" fmla="*/ 26653 h 127520"/>
                <a:gd name="connsiteX6" fmla="*/ 1917 w 62621"/>
                <a:gd name="connsiteY6" fmla="*/ 35591 h 127520"/>
                <a:gd name="connsiteX7" fmla="*/ 10863 w 62621"/>
                <a:gd name="connsiteY7" fmla="*/ 35591 h 127520"/>
                <a:gd name="connsiteX8" fmla="*/ 10863 w 62621"/>
                <a:gd name="connsiteY8" fmla="*/ 35591 h 127520"/>
                <a:gd name="connsiteX9" fmla="*/ 24921 w 62621"/>
                <a:gd name="connsiteY9" fmla="*/ 21546 h 127520"/>
                <a:gd name="connsiteX10" fmla="*/ 24921 w 62621"/>
                <a:gd name="connsiteY10" fmla="*/ 121136 h 127520"/>
                <a:gd name="connsiteX11" fmla="*/ 31311 w 62621"/>
                <a:gd name="connsiteY11" fmla="*/ 127520 h 127520"/>
                <a:gd name="connsiteX12" fmla="*/ 37701 w 62621"/>
                <a:gd name="connsiteY12" fmla="*/ 121136 h 127520"/>
                <a:gd name="connsiteX13" fmla="*/ 37701 w 62621"/>
                <a:gd name="connsiteY13" fmla="*/ 21546 h 127520"/>
                <a:gd name="connsiteX14" fmla="*/ 51759 w 62621"/>
                <a:gd name="connsiteY14" fmla="*/ 35591 h 127520"/>
                <a:gd name="connsiteX15" fmla="*/ 56231 w 62621"/>
                <a:gd name="connsiteY15" fmla="*/ 37506 h 127520"/>
                <a:gd name="connsiteX16" fmla="*/ 62621 w 62621"/>
                <a:gd name="connsiteY16" fmla="*/ 31122 h 127520"/>
                <a:gd name="connsiteX17" fmla="*/ 60704 w 62621"/>
                <a:gd name="connsiteY17" fmla="*/ 26653 h 127520"/>
                <a:gd name="connsiteX18" fmla="*/ 60704 w 62621"/>
                <a:gd name="connsiteY18" fmla="*/ 26653 h 12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621" h="127520">
                  <a:moveTo>
                    <a:pt x="60704" y="26653"/>
                  </a:moveTo>
                  <a:lnTo>
                    <a:pt x="35784" y="1756"/>
                  </a:lnTo>
                  <a:cubicBezTo>
                    <a:pt x="35145" y="1117"/>
                    <a:pt x="34506" y="479"/>
                    <a:pt x="33867" y="479"/>
                  </a:cubicBezTo>
                  <a:cubicBezTo>
                    <a:pt x="32589" y="-160"/>
                    <a:pt x="30672" y="-160"/>
                    <a:pt x="28755" y="479"/>
                  </a:cubicBezTo>
                  <a:cubicBezTo>
                    <a:pt x="28116" y="1117"/>
                    <a:pt x="27477" y="1117"/>
                    <a:pt x="26838" y="1756"/>
                  </a:cubicBezTo>
                  <a:lnTo>
                    <a:pt x="1917" y="26653"/>
                  </a:lnTo>
                  <a:cubicBezTo>
                    <a:pt x="-639" y="29207"/>
                    <a:pt x="-639" y="33037"/>
                    <a:pt x="1917" y="35591"/>
                  </a:cubicBezTo>
                  <a:cubicBezTo>
                    <a:pt x="4473" y="38144"/>
                    <a:pt x="8307" y="38144"/>
                    <a:pt x="10863" y="35591"/>
                  </a:cubicBezTo>
                  <a:cubicBezTo>
                    <a:pt x="10863" y="35591"/>
                    <a:pt x="10863" y="35591"/>
                    <a:pt x="10863" y="35591"/>
                  </a:cubicBezTo>
                  <a:lnTo>
                    <a:pt x="24921" y="21546"/>
                  </a:lnTo>
                  <a:lnTo>
                    <a:pt x="24921" y="121136"/>
                  </a:lnTo>
                  <a:cubicBezTo>
                    <a:pt x="24921" y="124966"/>
                    <a:pt x="27477" y="127520"/>
                    <a:pt x="31311" y="127520"/>
                  </a:cubicBezTo>
                  <a:cubicBezTo>
                    <a:pt x="35145" y="127520"/>
                    <a:pt x="37701" y="124966"/>
                    <a:pt x="37701" y="121136"/>
                  </a:cubicBezTo>
                  <a:lnTo>
                    <a:pt x="37701" y="21546"/>
                  </a:lnTo>
                  <a:lnTo>
                    <a:pt x="51759" y="35591"/>
                  </a:lnTo>
                  <a:cubicBezTo>
                    <a:pt x="53036" y="36867"/>
                    <a:pt x="54315" y="37506"/>
                    <a:pt x="56231" y="37506"/>
                  </a:cubicBezTo>
                  <a:cubicBezTo>
                    <a:pt x="60065" y="37506"/>
                    <a:pt x="62621" y="34314"/>
                    <a:pt x="62621" y="31122"/>
                  </a:cubicBezTo>
                  <a:cubicBezTo>
                    <a:pt x="62621" y="29207"/>
                    <a:pt x="61983" y="27930"/>
                    <a:pt x="60704" y="26653"/>
                  </a:cubicBezTo>
                  <a:lnTo>
                    <a:pt x="60704" y="26653"/>
                  </a:lnTo>
                  <a:close/>
                </a:path>
              </a:pathLst>
            </a:custGeom>
            <a:solidFill>
              <a:srgbClr val="86BC25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2E2FA425-419A-4606-F9D4-C186996A8C67}"/>
                </a:ext>
              </a:extLst>
            </p:cNvPr>
            <p:cNvSpPr/>
            <p:nvPr/>
          </p:nvSpPr>
          <p:spPr>
            <a:xfrm>
              <a:off x="1574480" y="4392980"/>
              <a:ext cx="243474" cy="144934"/>
            </a:xfrm>
            <a:custGeom>
              <a:avLst/>
              <a:gdLst>
                <a:gd name="connsiteX0" fmla="*/ 203839 w 243474"/>
                <a:gd name="connsiteY0" fmla="*/ 65755 h 144934"/>
                <a:gd name="connsiteX1" fmla="*/ 198727 w 243474"/>
                <a:gd name="connsiteY1" fmla="*/ 66394 h 144934"/>
                <a:gd name="connsiteX2" fmla="*/ 198727 w 243474"/>
                <a:gd name="connsiteY2" fmla="*/ 64478 h 144934"/>
                <a:gd name="connsiteX3" fmla="*/ 134189 w 243474"/>
                <a:gd name="connsiteY3" fmla="*/ 0 h 144934"/>
                <a:gd name="connsiteX4" fmla="*/ 72206 w 243474"/>
                <a:gd name="connsiteY4" fmla="*/ 43411 h 144934"/>
                <a:gd name="connsiteX5" fmla="*/ 53036 w 243474"/>
                <a:gd name="connsiteY5" fmla="*/ 38942 h 144934"/>
                <a:gd name="connsiteX6" fmla="*/ 0 w 243474"/>
                <a:gd name="connsiteY6" fmla="*/ 91930 h 144934"/>
                <a:gd name="connsiteX7" fmla="*/ 53036 w 243474"/>
                <a:gd name="connsiteY7" fmla="*/ 144916 h 144934"/>
                <a:gd name="connsiteX8" fmla="*/ 53036 w 243474"/>
                <a:gd name="connsiteY8" fmla="*/ 144916 h 144934"/>
                <a:gd name="connsiteX9" fmla="*/ 86903 w 243474"/>
                <a:gd name="connsiteY9" fmla="*/ 144916 h 144934"/>
                <a:gd name="connsiteX10" fmla="*/ 93293 w 243474"/>
                <a:gd name="connsiteY10" fmla="*/ 138533 h 144934"/>
                <a:gd name="connsiteX11" fmla="*/ 86903 w 243474"/>
                <a:gd name="connsiteY11" fmla="*/ 132149 h 144934"/>
                <a:gd name="connsiteX12" fmla="*/ 53036 w 243474"/>
                <a:gd name="connsiteY12" fmla="*/ 132149 h 144934"/>
                <a:gd name="connsiteX13" fmla="*/ 12780 w 243474"/>
                <a:gd name="connsiteY13" fmla="*/ 91930 h 144934"/>
                <a:gd name="connsiteX14" fmla="*/ 53036 w 243474"/>
                <a:gd name="connsiteY14" fmla="*/ 51710 h 144934"/>
                <a:gd name="connsiteX15" fmla="*/ 53036 w 243474"/>
                <a:gd name="connsiteY15" fmla="*/ 51710 h 144934"/>
                <a:gd name="connsiteX16" fmla="*/ 72845 w 243474"/>
                <a:gd name="connsiteY16" fmla="*/ 58094 h 144934"/>
                <a:gd name="connsiteX17" fmla="*/ 72845 w 243474"/>
                <a:gd name="connsiteY17" fmla="*/ 58094 h 144934"/>
                <a:gd name="connsiteX18" fmla="*/ 73484 w 243474"/>
                <a:gd name="connsiteY18" fmla="*/ 58733 h 144934"/>
                <a:gd name="connsiteX19" fmla="*/ 74762 w 243474"/>
                <a:gd name="connsiteY19" fmla="*/ 59371 h 144934"/>
                <a:gd name="connsiteX20" fmla="*/ 74762 w 243474"/>
                <a:gd name="connsiteY20" fmla="*/ 59371 h 144934"/>
                <a:gd name="connsiteX21" fmla="*/ 79874 w 243474"/>
                <a:gd name="connsiteY21" fmla="*/ 58094 h 144934"/>
                <a:gd name="connsiteX22" fmla="*/ 81152 w 243474"/>
                <a:gd name="connsiteY22" fmla="*/ 56818 h 144934"/>
                <a:gd name="connsiteX23" fmla="*/ 81152 w 243474"/>
                <a:gd name="connsiteY23" fmla="*/ 56818 h 144934"/>
                <a:gd name="connsiteX24" fmla="*/ 81791 w 243474"/>
                <a:gd name="connsiteY24" fmla="*/ 56179 h 144934"/>
                <a:gd name="connsiteX25" fmla="*/ 82430 w 243474"/>
                <a:gd name="connsiteY25" fmla="*/ 54902 h 144934"/>
                <a:gd name="connsiteX26" fmla="*/ 134189 w 243474"/>
                <a:gd name="connsiteY26" fmla="*/ 13406 h 144934"/>
                <a:gd name="connsiteX27" fmla="*/ 185947 w 243474"/>
                <a:gd name="connsiteY27" fmla="*/ 65117 h 144934"/>
                <a:gd name="connsiteX28" fmla="*/ 185308 w 243474"/>
                <a:gd name="connsiteY28" fmla="*/ 72139 h 144934"/>
                <a:gd name="connsiteX29" fmla="*/ 184669 w 243474"/>
                <a:gd name="connsiteY29" fmla="*/ 75331 h 144934"/>
                <a:gd name="connsiteX30" fmla="*/ 184669 w 243474"/>
                <a:gd name="connsiteY30" fmla="*/ 75970 h 144934"/>
                <a:gd name="connsiteX31" fmla="*/ 184669 w 243474"/>
                <a:gd name="connsiteY31" fmla="*/ 77246 h 144934"/>
                <a:gd name="connsiteX32" fmla="*/ 185308 w 243474"/>
                <a:gd name="connsiteY32" fmla="*/ 78523 h 144934"/>
                <a:gd name="connsiteX33" fmla="*/ 185308 w 243474"/>
                <a:gd name="connsiteY33" fmla="*/ 79162 h 144934"/>
                <a:gd name="connsiteX34" fmla="*/ 185308 w 243474"/>
                <a:gd name="connsiteY34" fmla="*/ 79162 h 144934"/>
                <a:gd name="connsiteX35" fmla="*/ 185947 w 243474"/>
                <a:gd name="connsiteY35" fmla="*/ 80438 h 144934"/>
                <a:gd name="connsiteX36" fmla="*/ 186586 w 243474"/>
                <a:gd name="connsiteY36" fmla="*/ 81077 h 144934"/>
                <a:gd name="connsiteX37" fmla="*/ 187864 w 243474"/>
                <a:gd name="connsiteY37" fmla="*/ 81715 h 144934"/>
                <a:gd name="connsiteX38" fmla="*/ 189142 w 243474"/>
                <a:gd name="connsiteY38" fmla="*/ 82354 h 144934"/>
                <a:gd name="connsiteX39" fmla="*/ 189142 w 243474"/>
                <a:gd name="connsiteY39" fmla="*/ 82354 h 144934"/>
                <a:gd name="connsiteX40" fmla="*/ 190420 w 243474"/>
                <a:gd name="connsiteY40" fmla="*/ 82354 h 144934"/>
                <a:gd name="connsiteX41" fmla="*/ 190420 w 243474"/>
                <a:gd name="connsiteY41" fmla="*/ 82354 h 144934"/>
                <a:gd name="connsiteX42" fmla="*/ 191059 w 243474"/>
                <a:gd name="connsiteY42" fmla="*/ 82354 h 144934"/>
                <a:gd name="connsiteX43" fmla="*/ 192337 w 243474"/>
                <a:gd name="connsiteY43" fmla="*/ 81715 h 144934"/>
                <a:gd name="connsiteX44" fmla="*/ 192976 w 243474"/>
                <a:gd name="connsiteY44" fmla="*/ 81715 h 144934"/>
                <a:gd name="connsiteX45" fmla="*/ 202561 w 243474"/>
                <a:gd name="connsiteY45" fmla="*/ 78523 h 144934"/>
                <a:gd name="connsiteX46" fmla="*/ 230677 w 243474"/>
                <a:gd name="connsiteY46" fmla="*/ 104059 h 144934"/>
                <a:gd name="connsiteX47" fmla="*/ 205117 w 243474"/>
                <a:gd name="connsiteY47" fmla="*/ 132149 h 144934"/>
                <a:gd name="connsiteX48" fmla="*/ 202561 w 243474"/>
                <a:gd name="connsiteY48" fmla="*/ 132149 h 144934"/>
                <a:gd name="connsiteX49" fmla="*/ 155276 w 243474"/>
                <a:gd name="connsiteY49" fmla="*/ 132149 h 144934"/>
                <a:gd name="connsiteX50" fmla="*/ 148886 w 243474"/>
                <a:gd name="connsiteY50" fmla="*/ 138533 h 144934"/>
                <a:gd name="connsiteX51" fmla="*/ 155276 w 243474"/>
                <a:gd name="connsiteY51" fmla="*/ 144916 h 144934"/>
                <a:gd name="connsiteX52" fmla="*/ 202561 w 243474"/>
                <a:gd name="connsiteY52" fmla="*/ 144916 h 144934"/>
                <a:gd name="connsiteX53" fmla="*/ 243457 w 243474"/>
                <a:gd name="connsiteY53" fmla="*/ 107251 h 144934"/>
                <a:gd name="connsiteX54" fmla="*/ 205756 w 243474"/>
                <a:gd name="connsiteY54" fmla="*/ 66394 h 144934"/>
                <a:gd name="connsiteX55" fmla="*/ 202561 w 243474"/>
                <a:gd name="connsiteY55" fmla="*/ 66394 h 144934"/>
                <a:gd name="connsiteX56" fmla="*/ 203839 w 243474"/>
                <a:gd name="connsiteY56" fmla="*/ 65755 h 144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43474" h="144934">
                  <a:moveTo>
                    <a:pt x="203839" y="65755"/>
                  </a:moveTo>
                  <a:cubicBezTo>
                    <a:pt x="201922" y="65755"/>
                    <a:pt x="200005" y="65755"/>
                    <a:pt x="198727" y="66394"/>
                  </a:cubicBezTo>
                  <a:cubicBezTo>
                    <a:pt x="198727" y="65755"/>
                    <a:pt x="198727" y="65117"/>
                    <a:pt x="198727" y="64478"/>
                  </a:cubicBezTo>
                  <a:cubicBezTo>
                    <a:pt x="198727" y="28728"/>
                    <a:pt x="169972" y="0"/>
                    <a:pt x="134189" y="0"/>
                  </a:cubicBezTo>
                  <a:cubicBezTo>
                    <a:pt x="106712" y="0"/>
                    <a:pt x="81791" y="17237"/>
                    <a:pt x="72206" y="43411"/>
                  </a:cubicBezTo>
                  <a:cubicBezTo>
                    <a:pt x="66455" y="40219"/>
                    <a:pt x="59426" y="38942"/>
                    <a:pt x="53036" y="38942"/>
                  </a:cubicBezTo>
                  <a:cubicBezTo>
                    <a:pt x="23643" y="38942"/>
                    <a:pt x="0" y="62563"/>
                    <a:pt x="0" y="91930"/>
                  </a:cubicBezTo>
                  <a:cubicBezTo>
                    <a:pt x="0" y="121296"/>
                    <a:pt x="23643" y="144916"/>
                    <a:pt x="53036" y="144916"/>
                  </a:cubicBezTo>
                  <a:cubicBezTo>
                    <a:pt x="53036" y="144916"/>
                    <a:pt x="53036" y="144916"/>
                    <a:pt x="53036" y="144916"/>
                  </a:cubicBezTo>
                  <a:lnTo>
                    <a:pt x="86903" y="144916"/>
                  </a:lnTo>
                  <a:cubicBezTo>
                    <a:pt x="90737" y="144916"/>
                    <a:pt x="93293" y="142363"/>
                    <a:pt x="93293" y="138533"/>
                  </a:cubicBezTo>
                  <a:cubicBezTo>
                    <a:pt x="93293" y="134702"/>
                    <a:pt x="90737" y="132149"/>
                    <a:pt x="86903" y="132149"/>
                  </a:cubicBezTo>
                  <a:lnTo>
                    <a:pt x="53036" y="132149"/>
                  </a:lnTo>
                  <a:cubicBezTo>
                    <a:pt x="30672" y="132149"/>
                    <a:pt x="12780" y="114273"/>
                    <a:pt x="12780" y="91930"/>
                  </a:cubicBezTo>
                  <a:cubicBezTo>
                    <a:pt x="12780" y="69586"/>
                    <a:pt x="30672" y="51710"/>
                    <a:pt x="53036" y="51710"/>
                  </a:cubicBezTo>
                  <a:cubicBezTo>
                    <a:pt x="53036" y="51710"/>
                    <a:pt x="53036" y="51710"/>
                    <a:pt x="53036" y="51710"/>
                  </a:cubicBezTo>
                  <a:cubicBezTo>
                    <a:pt x="60065" y="51710"/>
                    <a:pt x="67094" y="53626"/>
                    <a:pt x="72845" y="58094"/>
                  </a:cubicBezTo>
                  <a:lnTo>
                    <a:pt x="72845" y="58094"/>
                  </a:lnTo>
                  <a:cubicBezTo>
                    <a:pt x="72845" y="58094"/>
                    <a:pt x="73484" y="58094"/>
                    <a:pt x="73484" y="58733"/>
                  </a:cubicBezTo>
                  <a:cubicBezTo>
                    <a:pt x="74123" y="58733"/>
                    <a:pt x="74123" y="59371"/>
                    <a:pt x="74762" y="59371"/>
                  </a:cubicBezTo>
                  <a:lnTo>
                    <a:pt x="74762" y="59371"/>
                  </a:lnTo>
                  <a:cubicBezTo>
                    <a:pt x="76679" y="60010"/>
                    <a:pt x="78596" y="59371"/>
                    <a:pt x="79874" y="58094"/>
                  </a:cubicBezTo>
                  <a:cubicBezTo>
                    <a:pt x="80513" y="57456"/>
                    <a:pt x="80513" y="57456"/>
                    <a:pt x="81152" y="56818"/>
                  </a:cubicBezTo>
                  <a:lnTo>
                    <a:pt x="81152" y="56818"/>
                  </a:lnTo>
                  <a:cubicBezTo>
                    <a:pt x="81152" y="56818"/>
                    <a:pt x="81152" y="56179"/>
                    <a:pt x="81791" y="56179"/>
                  </a:cubicBezTo>
                  <a:cubicBezTo>
                    <a:pt x="81791" y="55541"/>
                    <a:pt x="82430" y="55541"/>
                    <a:pt x="82430" y="54902"/>
                  </a:cubicBezTo>
                  <a:cubicBezTo>
                    <a:pt x="88181" y="30643"/>
                    <a:pt x="109268" y="13406"/>
                    <a:pt x="134189" y="13406"/>
                  </a:cubicBezTo>
                  <a:cubicBezTo>
                    <a:pt x="162943" y="13406"/>
                    <a:pt x="185947" y="36389"/>
                    <a:pt x="185947" y="65117"/>
                  </a:cubicBezTo>
                  <a:cubicBezTo>
                    <a:pt x="185947" y="67670"/>
                    <a:pt x="185947" y="69586"/>
                    <a:pt x="185308" y="72139"/>
                  </a:cubicBezTo>
                  <a:cubicBezTo>
                    <a:pt x="185308" y="73416"/>
                    <a:pt x="185308" y="74693"/>
                    <a:pt x="184669" y="75331"/>
                  </a:cubicBezTo>
                  <a:cubicBezTo>
                    <a:pt x="184669" y="75331"/>
                    <a:pt x="184669" y="75970"/>
                    <a:pt x="184669" y="75970"/>
                  </a:cubicBezTo>
                  <a:cubicBezTo>
                    <a:pt x="184669" y="76608"/>
                    <a:pt x="184669" y="76608"/>
                    <a:pt x="184669" y="77246"/>
                  </a:cubicBezTo>
                  <a:cubicBezTo>
                    <a:pt x="184669" y="77885"/>
                    <a:pt x="184669" y="77885"/>
                    <a:pt x="185308" y="78523"/>
                  </a:cubicBezTo>
                  <a:cubicBezTo>
                    <a:pt x="185308" y="78523"/>
                    <a:pt x="185308" y="79162"/>
                    <a:pt x="185308" y="79162"/>
                  </a:cubicBezTo>
                  <a:lnTo>
                    <a:pt x="185308" y="79162"/>
                  </a:lnTo>
                  <a:cubicBezTo>
                    <a:pt x="185308" y="79800"/>
                    <a:pt x="185947" y="79800"/>
                    <a:pt x="185947" y="80438"/>
                  </a:cubicBezTo>
                  <a:cubicBezTo>
                    <a:pt x="185947" y="80438"/>
                    <a:pt x="186586" y="81077"/>
                    <a:pt x="186586" y="81077"/>
                  </a:cubicBezTo>
                  <a:cubicBezTo>
                    <a:pt x="186586" y="81077"/>
                    <a:pt x="187225" y="81715"/>
                    <a:pt x="187864" y="81715"/>
                  </a:cubicBezTo>
                  <a:cubicBezTo>
                    <a:pt x="188503" y="81715"/>
                    <a:pt x="188503" y="82354"/>
                    <a:pt x="189142" y="82354"/>
                  </a:cubicBezTo>
                  <a:lnTo>
                    <a:pt x="189142" y="82354"/>
                  </a:lnTo>
                  <a:cubicBezTo>
                    <a:pt x="189781" y="82354"/>
                    <a:pt x="189781" y="82354"/>
                    <a:pt x="190420" y="82354"/>
                  </a:cubicBezTo>
                  <a:lnTo>
                    <a:pt x="190420" y="82354"/>
                  </a:lnTo>
                  <a:lnTo>
                    <a:pt x="191059" y="82354"/>
                  </a:lnTo>
                  <a:lnTo>
                    <a:pt x="192337" y="81715"/>
                  </a:lnTo>
                  <a:lnTo>
                    <a:pt x="192976" y="81715"/>
                  </a:lnTo>
                  <a:cubicBezTo>
                    <a:pt x="196171" y="79800"/>
                    <a:pt x="199366" y="79162"/>
                    <a:pt x="202561" y="78523"/>
                  </a:cubicBezTo>
                  <a:cubicBezTo>
                    <a:pt x="217258" y="77885"/>
                    <a:pt x="229399" y="89376"/>
                    <a:pt x="230677" y="104059"/>
                  </a:cubicBezTo>
                  <a:cubicBezTo>
                    <a:pt x="231316" y="118742"/>
                    <a:pt x="219814" y="130872"/>
                    <a:pt x="205117" y="132149"/>
                  </a:cubicBezTo>
                  <a:cubicBezTo>
                    <a:pt x="204478" y="132149"/>
                    <a:pt x="203200" y="132149"/>
                    <a:pt x="202561" y="132149"/>
                  </a:cubicBezTo>
                  <a:lnTo>
                    <a:pt x="155276" y="132149"/>
                  </a:lnTo>
                  <a:cubicBezTo>
                    <a:pt x="151442" y="132149"/>
                    <a:pt x="148886" y="134702"/>
                    <a:pt x="148886" y="138533"/>
                  </a:cubicBezTo>
                  <a:cubicBezTo>
                    <a:pt x="148886" y="142363"/>
                    <a:pt x="151442" y="144916"/>
                    <a:pt x="155276" y="144916"/>
                  </a:cubicBezTo>
                  <a:lnTo>
                    <a:pt x="202561" y="144916"/>
                  </a:lnTo>
                  <a:cubicBezTo>
                    <a:pt x="224287" y="145555"/>
                    <a:pt x="242818" y="128957"/>
                    <a:pt x="243457" y="107251"/>
                  </a:cubicBezTo>
                  <a:cubicBezTo>
                    <a:pt x="244096" y="85546"/>
                    <a:pt x="227482" y="67032"/>
                    <a:pt x="205756" y="66394"/>
                  </a:cubicBezTo>
                  <a:cubicBezTo>
                    <a:pt x="204478" y="66394"/>
                    <a:pt x="203839" y="66394"/>
                    <a:pt x="202561" y="66394"/>
                  </a:cubicBezTo>
                  <a:lnTo>
                    <a:pt x="203839" y="65755"/>
                  </a:lnTo>
                  <a:close/>
                </a:path>
              </a:pathLst>
            </a:custGeom>
            <a:solidFill>
              <a:srgbClr val="86BC25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1" name="Graphic 4">
            <a:extLst>
              <a:ext uri="{FF2B5EF4-FFF2-40B4-BE49-F238E27FC236}">
                <a16:creationId xmlns:a16="http://schemas.microsoft.com/office/drawing/2014/main" id="{2A08C2A6-0C0B-F86F-E636-2B9FD6D33A4C}"/>
              </a:ext>
            </a:extLst>
          </p:cNvPr>
          <p:cNvGrpSpPr/>
          <p:nvPr/>
        </p:nvGrpSpPr>
        <p:grpSpPr>
          <a:xfrm>
            <a:off x="8162888" y="1940223"/>
            <a:ext cx="551819" cy="455747"/>
            <a:chOff x="7860777" y="3920566"/>
            <a:chExt cx="242939" cy="200456"/>
          </a:xfrm>
          <a:solidFill>
            <a:srgbClr val="43B02A"/>
          </a:solidFill>
        </p:grpSpPr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5E3DFD1C-8B09-00F0-ACD1-570CF96D3C3F}"/>
                </a:ext>
              </a:extLst>
            </p:cNvPr>
            <p:cNvSpPr/>
            <p:nvPr/>
          </p:nvSpPr>
          <p:spPr>
            <a:xfrm>
              <a:off x="7867290" y="3920566"/>
              <a:ext cx="68372" cy="68308"/>
            </a:xfrm>
            <a:custGeom>
              <a:avLst/>
              <a:gdLst>
                <a:gd name="connsiteX0" fmla="*/ 34506 w 68372"/>
                <a:gd name="connsiteY0" fmla="*/ 68309 h 68308"/>
                <a:gd name="connsiteX1" fmla="*/ 68373 w 68372"/>
                <a:gd name="connsiteY1" fmla="*/ 34474 h 68308"/>
                <a:gd name="connsiteX2" fmla="*/ 34506 w 68372"/>
                <a:gd name="connsiteY2" fmla="*/ 0 h 68308"/>
                <a:gd name="connsiteX3" fmla="*/ 0 w 68372"/>
                <a:gd name="connsiteY3" fmla="*/ 33835 h 68308"/>
                <a:gd name="connsiteX4" fmla="*/ 0 w 68372"/>
                <a:gd name="connsiteY4" fmla="*/ 33835 h 68308"/>
                <a:gd name="connsiteX5" fmla="*/ 34506 w 68372"/>
                <a:gd name="connsiteY5" fmla="*/ 68309 h 68308"/>
                <a:gd name="connsiteX6" fmla="*/ 34506 w 68372"/>
                <a:gd name="connsiteY6" fmla="*/ 13406 h 68308"/>
                <a:gd name="connsiteX7" fmla="*/ 55593 w 68372"/>
                <a:gd name="connsiteY7" fmla="*/ 34474 h 68308"/>
                <a:gd name="connsiteX8" fmla="*/ 34506 w 68372"/>
                <a:gd name="connsiteY8" fmla="*/ 56179 h 68308"/>
                <a:gd name="connsiteX9" fmla="*/ 12780 w 68372"/>
                <a:gd name="connsiteY9" fmla="*/ 35112 h 68308"/>
                <a:gd name="connsiteX10" fmla="*/ 12780 w 68372"/>
                <a:gd name="connsiteY10" fmla="*/ 35112 h 68308"/>
                <a:gd name="connsiteX11" fmla="*/ 34506 w 68372"/>
                <a:gd name="connsiteY11" fmla="*/ 13406 h 6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372" h="68308">
                  <a:moveTo>
                    <a:pt x="34506" y="68309"/>
                  </a:moveTo>
                  <a:cubicBezTo>
                    <a:pt x="53037" y="68309"/>
                    <a:pt x="68373" y="52987"/>
                    <a:pt x="68373" y="34474"/>
                  </a:cubicBezTo>
                  <a:cubicBezTo>
                    <a:pt x="68373" y="15960"/>
                    <a:pt x="53037" y="638"/>
                    <a:pt x="34506" y="0"/>
                  </a:cubicBezTo>
                  <a:cubicBezTo>
                    <a:pt x="15975" y="0"/>
                    <a:pt x="640" y="15322"/>
                    <a:pt x="0" y="33835"/>
                  </a:cubicBezTo>
                  <a:cubicBezTo>
                    <a:pt x="0" y="33835"/>
                    <a:pt x="0" y="33835"/>
                    <a:pt x="0" y="33835"/>
                  </a:cubicBezTo>
                  <a:cubicBezTo>
                    <a:pt x="0" y="53626"/>
                    <a:pt x="15336" y="68309"/>
                    <a:pt x="34506" y="68309"/>
                  </a:cubicBezTo>
                  <a:close/>
                  <a:moveTo>
                    <a:pt x="34506" y="13406"/>
                  </a:moveTo>
                  <a:cubicBezTo>
                    <a:pt x="46008" y="13406"/>
                    <a:pt x="55593" y="22982"/>
                    <a:pt x="55593" y="34474"/>
                  </a:cubicBezTo>
                  <a:cubicBezTo>
                    <a:pt x="55593" y="45965"/>
                    <a:pt x="46008" y="55541"/>
                    <a:pt x="34506" y="56179"/>
                  </a:cubicBezTo>
                  <a:cubicBezTo>
                    <a:pt x="23004" y="56179"/>
                    <a:pt x="13419" y="46603"/>
                    <a:pt x="12780" y="35112"/>
                  </a:cubicBezTo>
                  <a:cubicBezTo>
                    <a:pt x="12780" y="35112"/>
                    <a:pt x="12780" y="35112"/>
                    <a:pt x="12780" y="35112"/>
                  </a:cubicBezTo>
                  <a:cubicBezTo>
                    <a:pt x="12780" y="22982"/>
                    <a:pt x="22365" y="13406"/>
                    <a:pt x="34506" y="1340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A3195544-5077-4E3B-C8A1-6C5DCC239ADA}"/>
                </a:ext>
              </a:extLst>
            </p:cNvPr>
            <p:cNvSpPr/>
            <p:nvPr/>
          </p:nvSpPr>
          <p:spPr>
            <a:xfrm>
              <a:off x="7860777" y="3991428"/>
              <a:ext cx="143596" cy="129594"/>
            </a:xfrm>
            <a:custGeom>
              <a:avLst/>
              <a:gdLst>
                <a:gd name="connsiteX0" fmla="*/ 128561 w 143596"/>
                <a:gd name="connsiteY0" fmla="*/ 75331 h 129594"/>
                <a:gd name="connsiteX1" fmla="*/ 100445 w 143596"/>
                <a:gd name="connsiteY1" fmla="*/ 71500 h 129594"/>
                <a:gd name="connsiteX2" fmla="*/ 99166 w 143596"/>
                <a:gd name="connsiteY2" fmla="*/ 43411 h 129594"/>
                <a:gd name="connsiteX3" fmla="*/ 56993 w 143596"/>
                <a:gd name="connsiteY3" fmla="*/ 1915 h 129594"/>
                <a:gd name="connsiteX4" fmla="*/ 12263 w 143596"/>
                <a:gd name="connsiteY4" fmla="*/ 1915 h 129594"/>
                <a:gd name="connsiteX5" fmla="*/ 4596 w 143596"/>
                <a:gd name="connsiteY5" fmla="*/ 4469 h 129594"/>
                <a:gd name="connsiteX6" fmla="*/ 122 w 143596"/>
                <a:gd name="connsiteY6" fmla="*/ 12768 h 129594"/>
                <a:gd name="connsiteX7" fmla="*/ 8430 w 143596"/>
                <a:gd name="connsiteY7" fmla="*/ 17237 h 129594"/>
                <a:gd name="connsiteX8" fmla="*/ 9068 w 143596"/>
                <a:gd name="connsiteY8" fmla="*/ 17237 h 129594"/>
                <a:gd name="connsiteX9" fmla="*/ 14820 w 143596"/>
                <a:gd name="connsiteY9" fmla="*/ 15322 h 129594"/>
                <a:gd name="connsiteX10" fmla="*/ 55076 w 143596"/>
                <a:gd name="connsiteY10" fmla="*/ 15322 h 129594"/>
                <a:gd name="connsiteX11" fmla="*/ 86387 w 143596"/>
                <a:gd name="connsiteY11" fmla="*/ 44049 h 129594"/>
                <a:gd name="connsiteX12" fmla="*/ 87665 w 143596"/>
                <a:gd name="connsiteY12" fmla="*/ 77246 h 129594"/>
                <a:gd name="connsiteX13" fmla="*/ 93416 w 143596"/>
                <a:gd name="connsiteY13" fmla="*/ 83630 h 129594"/>
                <a:gd name="connsiteX14" fmla="*/ 126643 w 143596"/>
                <a:gd name="connsiteY14" fmla="*/ 88099 h 129594"/>
                <a:gd name="connsiteX15" fmla="*/ 131116 w 143596"/>
                <a:gd name="connsiteY15" fmla="*/ 94483 h 129594"/>
                <a:gd name="connsiteX16" fmla="*/ 131116 w 143596"/>
                <a:gd name="connsiteY16" fmla="*/ 94483 h 129594"/>
                <a:gd name="connsiteX17" fmla="*/ 126005 w 143596"/>
                <a:gd name="connsiteY17" fmla="*/ 97675 h 129594"/>
                <a:gd name="connsiteX18" fmla="*/ 80636 w 143596"/>
                <a:gd name="connsiteY18" fmla="*/ 91291 h 129594"/>
                <a:gd name="connsiteX19" fmla="*/ 71690 w 143596"/>
                <a:gd name="connsiteY19" fmla="*/ 81076 h 129594"/>
                <a:gd name="connsiteX20" fmla="*/ 70412 w 143596"/>
                <a:gd name="connsiteY20" fmla="*/ 42134 h 129594"/>
                <a:gd name="connsiteX21" fmla="*/ 64022 w 143596"/>
                <a:gd name="connsiteY21" fmla="*/ 35750 h 129594"/>
                <a:gd name="connsiteX22" fmla="*/ 57632 w 143596"/>
                <a:gd name="connsiteY22" fmla="*/ 42134 h 129594"/>
                <a:gd name="connsiteX23" fmla="*/ 58910 w 143596"/>
                <a:gd name="connsiteY23" fmla="*/ 81076 h 129594"/>
                <a:gd name="connsiteX24" fmla="*/ 62744 w 143596"/>
                <a:gd name="connsiteY24" fmla="*/ 93206 h 129594"/>
                <a:gd name="connsiteX25" fmla="*/ 62744 w 143596"/>
                <a:gd name="connsiteY25" fmla="*/ 123211 h 129594"/>
                <a:gd name="connsiteX26" fmla="*/ 69134 w 143596"/>
                <a:gd name="connsiteY26" fmla="*/ 129595 h 129594"/>
                <a:gd name="connsiteX27" fmla="*/ 75524 w 143596"/>
                <a:gd name="connsiteY27" fmla="*/ 123211 h 129594"/>
                <a:gd name="connsiteX28" fmla="*/ 75524 w 143596"/>
                <a:gd name="connsiteY28" fmla="*/ 102782 h 129594"/>
                <a:gd name="connsiteX29" fmla="*/ 78719 w 143596"/>
                <a:gd name="connsiteY29" fmla="*/ 103420 h 129594"/>
                <a:gd name="connsiteX30" fmla="*/ 124087 w 143596"/>
                <a:gd name="connsiteY30" fmla="*/ 109804 h 129594"/>
                <a:gd name="connsiteX31" fmla="*/ 126005 w 143596"/>
                <a:gd name="connsiteY31" fmla="*/ 109804 h 129594"/>
                <a:gd name="connsiteX32" fmla="*/ 143257 w 143596"/>
                <a:gd name="connsiteY32" fmla="*/ 96398 h 129594"/>
                <a:gd name="connsiteX33" fmla="*/ 143257 w 143596"/>
                <a:gd name="connsiteY33" fmla="*/ 95760 h 129594"/>
                <a:gd name="connsiteX34" fmla="*/ 128561 w 143596"/>
                <a:gd name="connsiteY34" fmla="*/ 75331 h 129594"/>
                <a:gd name="connsiteX35" fmla="*/ 128561 w 143596"/>
                <a:gd name="connsiteY35" fmla="*/ 75331 h 129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43596" h="129594">
                  <a:moveTo>
                    <a:pt x="128561" y="75331"/>
                  </a:moveTo>
                  <a:lnTo>
                    <a:pt x="100445" y="71500"/>
                  </a:lnTo>
                  <a:lnTo>
                    <a:pt x="99166" y="43411"/>
                  </a:lnTo>
                  <a:cubicBezTo>
                    <a:pt x="97889" y="19152"/>
                    <a:pt x="77441" y="5107"/>
                    <a:pt x="56993" y="1915"/>
                  </a:cubicBezTo>
                  <a:cubicBezTo>
                    <a:pt x="42297" y="-638"/>
                    <a:pt x="26961" y="-638"/>
                    <a:pt x="12263" y="1915"/>
                  </a:cubicBezTo>
                  <a:cubicBezTo>
                    <a:pt x="9707" y="2554"/>
                    <a:pt x="7152" y="3192"/>
                    <a:pt x="4596" y="4469"/>
                  </a:cubicBezTo>
                  <a:cubicBezTo>
                    <a:pt x="1401" y="5746"/>
                    <a:pt x="-516" y="8938"/>
                    <a:pt x="122" y="12768"/>
                  </a:cubicBezTo>
                  <a:cubicBezTo>
                    <a:pt x="1401" y="15960"/>
                    <a:pt x="4596" y="17875"/>
                    <a:pt x="8430" y="17237"/>
                  </a:cubicBezTo>
                  <a:cubicBezTo>
                    <a:pt x="8430" y="17237"/>
                    <a:pt x="9068" y="17237"/>
                    <a:pt x="9068" y="17237"/>
                  </a:cubicBezTo>
                  <a:cubicBezTo>
                    <a:pt x="10986" y="16598"/>
                    <a:pt x="12902" y="15960"/>
                    <a:pt x="14820" y="15322"/>
                  </a:cubicBezTo>
                  <a:cubicBezTo>
                    <a:pt x="28238" y="12768"/>
                    <a:pt x="41657" y="12768"/>
                    <a:pt x="55076" y="15322"/>
                  </a:cubicBezTo>
                  <a:cubicBezTo>
                    <a:pt x="69773" y="17237"/>
                    <a:pt x="85748" y="27451"/>
                    <a:pt x="86387" y="44049"/>
                  </a:cubicBezTo>
                  <a:lnTo>
                    <a:pt x="87665" y="77246"/>
                  </a:lnTo>
                  <a:cubicBezTo>
                    <a:pt x="87665" y="80438"/>
                    <a:pt x="90221" y="82992"/>
                    <a:pt x="93416" y="83630"/>
                  </a:cubicBezTo>
                  <a:lnTo>
                    <a:pt x="126643" y="88099"/>
                  </a:lnTo>
                  <a:cubicBezTo>
                    <a:pt x="129838" y="88737"/>
                    <a:pt x="131756" y="91291"/>
                    <a:pt x="131116" y="94483"/>
                  </a:cubicBezTo>
                  <a:cubicBezTo>
                    <a:pt x="131116" y="94483"/>
                    <a:pt x="131116" y="94483"/>
                    <a:pt x="131116" y="94483"/>
                  </a:cubicBezTo>
                  <a:cubicBezTo>
                    <a:pt x="130477" y="97036"/>
                    <a:pt x="128561" y="98313"/>
                    <a:pt x="126005" y="97675"/>
                  </a:cubicBezTo>
                  <a:lnTo>
                    <a:pt x="80636" y="91291"/>
                  </a:lnTo>
                  <a:cubicBezTo>
                    <a:pt x="75524" y="90652"/>
                    <a:pt x="71690" y="86184"/>
                    <a:pt x="71690" y="81076"/>
                  </a:cubicBezTo>
                  <a:lnTo>
                    <a:pt x="70412" y="42134"/>
                  </a:lnTo>
                  <a:cubicBezTo>
                    <a:pt x="70412" y="38304"/>
                    <a:pt x="67217" y="35750"/>
                    <a:pt x="64022" y="35750"/>
                  </a:cubicBezTo>
                  <a:cubicBezTo>
                    <a:pt x="60188" y="35750"/>
                    <a:pt x="57632" y="38942"/>
                    <a:pt x="57632" y="42134"/>
                  </a:cubicBezTo>
                  <a:lnTo>
                    <a:pt x="58910" y="81076"/>
                  </a:lnTo>
                  <a:cubicBezTo>
                    <a:pt x="58910" y="85545"/>
                    <a:pt x="60827" y="90014"/>
                    <a:pt x="62744" y="93206"/>
                  </a:cubicBezTo>
                  <a:lnTo>
                    <a:pt x="62744" y="123211"/>
                  </a:lnTo>
                  <a:cubicBezTo>
                    <a:pt x="62744" y="127041"/>
                    <a:pt x="65300" y="129595"/>
                    <a:pt x="69134" y="129595"/>
                  </a:cubicBezTo>
                  <a:cubicBezTo>
                    <a:pt x="72968" y="129595"/>
                    <a:pt x="75524" y="127041"/>
                    <a:pt x="75524" y="123211"/>
                  </a:cubicBezTo>
                  <a:lnTo>
                    <a:pt x="75524" y="102782"/>
                  </a:lnTo>
                  <a:cubicBezTo>
                    <a:pt x="76802" y="102782"/>
                    <a:pt x="77441" y="103420"/>
                    <a:pt x="78719" y="103420"/>
                  </a:cubicBezTo>
                  <a:lnTo>
                    <a:pt x="124087" y="109804"/>
                  </a:lnTo>
                  <a:cubicBezTo>
                    <a:pt x="124726" y="109804"/>
                    <a:pt x="125366" y="109804"/>
                    <a:pt x="126005" y="109804"/>
                  </a:cubicBezTo>
                  <a:cubicBezTo>
                    <a:pt x="134311" y="109804"/>
                    <a:pt x="141341" y="104059"/>
                    <a:pt x="143257" y="96398"/>
                  </a:cubicBezTo>
                  <a:lnTo>
                    <a:pt x="143257" y="95760"/>
                  </a:lnTo>
                  <a:cubicBezTo>
                    <a:pt x="145174" y="86822"/>
                    <a:pt x="138784" y="77246"/>
                    <a:pt x="128561" y="75331"/>
                  </a:cubicBezTo>
                  <a:cubicBezTo>
                    <a:pt x="128561" y="75331"/>
                    <a:pt x="128561" y="75331"/>
                    <a:pt x="128561" y="7533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Graphic 4">
              <a:extLst>
                <a:ext uri="{FF2B5EF4-FFF2-40B4-BE49-F238E27FC236}">
                  <a16:creationId xmlns:a16="http://schemas.microsoft.com/office/drawing/2014/main" id="{BA273A75-7F53-74B1-7971-ECAD45B4D7FB}"/>
                </a:ext>
              </a:extLst>
            </p:cNvPr>
            <p:cNvSpPr/>
            <p:nvPr/>
          </p:nvSpPr>
          <p:spPr>
            <a:xfrm>
              <a:off x="7942052" y="3925035"/>
              <a:ext cx="161664" cy="148108"/>
            </a:xfrm>
            <a:custGeom>
              <a:avLst/>
              <a:gdLst>
                <a:gd name="connsiteX0" fmla="*/ 140579 w 161664"/>
                <a:gd name="connsiteY0" fmla="*/ 125126 h 148108"/>
                <a:gd name="connsiteX1" fmla="*/ 161665 w 161664"/>
                <a:gd name="connsiteY1" fmla="*/ 104059 h 148108"/>
                <a:gd name="connsiteX2" fmla="*/ 161665 w 161664"/>
                <a:gd name="connsiteY2" fmla="*/ 21067 h 148108"/>
                <a:gd name="connsiteX3" fmla="*/ 140579 w 161664"/>
                <a:gd name="connsiteY3" fmla="*/ 0 h 148108"/>
                <a:gd name="connsiteX4" fmla="*/ 21086 w 161664"/>
                <a:gd name="connsiteY4" fmla="*/ 0 h 148108"/>
                <a:gd name="connsiteX5" fmla="*/ 0 w 161664"/>
                <a:gd name="connsiteY5" fmla="*/ 21067 h 148108"/>
                <a:gd name="connsiteX6" fmla="*/ 0 w 161664"/>
                <a:gd name="connsiteY6" fmla="*/ 58733 h 148108"/>
                <a:gd name="connsiteX7" fmla="*/ 6390 w 161664"/>
                <a:gd name="connsiteY7" fmla="*/ 65117 h 148108"/>
                <a:gd name="connsiteX8" fmla="*/ 12780 w 161664"/>
                <a:gd name="connsiteY8" fmla="*/ 58733 h 148108"/>
                <a:gd name="connsiteX9" fmla="*/ 12780 w 161664"/>
                <a:gd name="connsiteY9" fmla="*/ 21067 h 148108"/>
                <a:gd name="connsiteX10" fmla="*/ 21086 w 161664"/>
                <a:gd name="connsiteY10" fmla="*/ 12768 h 148108"/>
                <a:gd name="connsiteX11" fmla="*/ 140579 w 161664"/>
                <a:gd name="connsiteY11" fmla="*/ 12768 h 148108"/>
                <a:gd name="connsiteX12" fmla="*/ 148885 w 161664"/>
                <a:gd name="connsiteY12" fmla="*/ 21067 h 148108"/>
                <a:gd name="connsiteX13" fmla="*/ 148885 w 161664"/>
                <a:gd name="connsiteY13" fmla="*/ 92568 h 148108"/>
                <a:gd name="connsiteX14" fmla="*/ 113740 w 161664"/>
                <a:gd name="connsiteY14" fmla="*/ 92568 h 148108"/>
                <a:gd name="connsiteX15" fmla="*/ 80513 w 161664"/>
                <a:gd name="connsiteY15" fmla="*/ 70224 h 148108"/>
                <a:gd name="connsiteX16" fmla="*/ 47286 w 161664"/>
                <a:gd name="connsiteY16" fmla="*/ 92568 h 148108"/>
                <a:gd name="connsiteX17" fmla="*/ 34506 w 161664"/>
                <a:gd name="connsiteY17" fmla="*/ 92568 h 148108"/>
                <a:gd name="connsiteX18" fmla="*/ 28116 w 161664"/>
                <a:gd name="connsiteY18" fmla="*/ 98952 h 148108"/>
                <a:gd name="connsiteX19" fmla="*/ 34506 w 161664"/>
                <a:gd name="connsiteY19" fmla="*/ 105336 h 148108"/>
                <a:gd name="connsiteX20" fmla="*/ 148885 w 161664"/>
                <a:gd name="connsiteY20" fmla="*/ 105336 h 148108"/>
                <a:gd name="connsiteX21" fmla="*/ 140579 w 161664"/>
                <a:gd name="connsiteY21" fmla="*/ 112997 h 148108"/>
                <a:gd name="connsiteX22" fmla="*/ 34506 w 161664"/>
                <a:gd name="connsiteY22" fmla="*/ 112997 h 148108"/>
                <a:gd name="connsiteX23" fmla="*/ 28116 w 161664"/>
                <a:gd name="connsiteY23" fmla="*/ 119381 h 148108"/>
                <a:gd name="connsiteX24" fmla="*/ 34506 w 161664"/>
                <a:gd name="connsiteY24" fmla="*/ 125765 h 148108"/>
                <a:gd name="connsiteX25" fmla="*/ 61982 w 161664"/>
                <a:gd name="connsiteY25" fmla="*/ 125765 h 148108"/>
                <a:gd name="connsiteX26" fmla="*/ 61982 w 161664"/>
                <a:gd name="connsiteY26" fmla="*/ 141724 h 148108"/>
                <a:gd name="connsiteX27" fmla="*/ 68372 w 161664"/>
                <a:gd name="connsiteY27" fmla="*/ 148108 h 148108"/>
                <a:gd name="connsiteX28" fmla="*/ 155275 w 161664"/>
                <a:gd name="connsiteY28" fmla="*/ 148108 h 148108"/>
                <a:gd name="connsiteX29" fmla="*/ 161665 w 161664"/>
                <a:gd name="connsiteY29" fmla="*/ 141724 h 148108"/>
                <a:gd name="connsiteX30" fmla="*/ 155275 w 161664"/>
                <a:gd name="connsiteY30" fmla="*/ 135341 h 148108"/>
                <a:gd name="connsiteX31" fmla="*/ 99044 w 161664"/>
                <a:gd name="connsiteY31" fmla="*/ 135341 h 148108"/>
                <a:gd name="connsiteX32" fmla="*/ 99044 w 161664"/>
                <a:gd name="connsiteY32" fmla="*/ 125765 h 148108"/>
                <a:gd name="connsiteX33" fmla="*/ 140579 w 161664"/>
                <a:gd name="connsiteY33" fmla="*/ 125126 h 148108"/>
                <a:gd name="connsiteX34" fmla="*/ 81152 w 161664"/>
                <a:gd name="connsiteY34" fmla="*/ 82353 h 148108"/>
                <a:gd name="connsiteX35" fmla="*/ 100961 w 161664"/>
                <a:gd name="connsiteY35" fmla="*/ 91929 h 148108"/>
                <a:gd name="connsiteX36" fmla="*/ 61343 w 161664"/>
                <a:gd name="connsiteY36" fmla="*/ 91929 h 148108"/>
                <a:gd name="connsiteX37" fmla="*/ 81152 w 161664"/>
                <a:gd name="connsiteY37" fmla="*/ 82353 h 148108"/>
                <a:gd name="connsiteX38" fmla="*/ 81152 w 161664"/>
                <a:gd name="connsiteY38" fmla="*/ 82353 h 148108"/>
                <a:gd name="connsiteX39" fmla="*/ 86903 w 161664"/>
                <a:gd name="connsiteY39" fmla="*/ 134702 h 148108"/>
                <a:gd name="connsiteX40" fmla="*/ 75401 w 161664"/>
                <a:gd name="connsiteY40" fmla="*/ 134702 h 148108"/>
                <a:gd name="connsiteX41" fmla="*/ 75401 w 161664"/>
                <a:gd name="connsiteY41" fmla="*/ 125126 h 148108"/>
                <a:gd name="connsiteX42" fmla="*/ 86903 w 161664"/>
                <a:gd name="connsiteY42" fmla="*/ 125126 h 148108"/>
                <a:gd name="connsiteX43" fmla="*/ 86903 w 161664"/>
                <a:gd name="connsiteY43" fmla="*/ 134702 h 148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61664" h="148108">
                  <a:moveTo>
                    <a:pt x="140579" y="125126"/>
                  </a:moveTo>
                  <a:cubicBezTo>
                    <a:pt x="152080" y="125126"/>
                    <a:pt x="161665" y="115550"/>
                    <a:pt x="161665" y="104059"/>
                  </a:cubicBezTo>
                  <a:lnTo>
                    <a:pt x="161665" y="21067"/>
                  </a:lnTo>
                  <a:cubicBezTo>
                    <a:pt x="161665" y="9576"/>
                    <a:pt x="152080" y="0"/>
                    <a:pt x="140579" y="0"/>
                  </a:cubicBezTo>
                  <a:lnTo>
                    <a:pt x="21086" y="0"/>
                  </a:lnTo>
                  <a:cubicBezTo>
                    <a:pt x="9585" y="0"/>
                    <a:pt x="0" y="9576"/>
                    <a:pt x="0" y="21067"/>
                  </a:cubicBezTo>
                  <a:lnTo>
                    <a:pt x="0" y="58733"/>
                  </a:lnTo>
                  <a:cubicBezTo>
                    <a:pt x="0" y="62563"/>
                    <a:pt x="2556" y="65117"/>
                    <a:pt x="6390" y="65117"/>
                  </a:cubicBezTo>
                  <a:cubicBezTo>
                    <a:pt x="10224" y="65117"/>
                    <a:pt x="12780" y="62563"/>
                    <a:pt x="12780" y="58733"/>
                  </a:cubicBezTo>
                  <a:lnTo>
                    <a:pt x="12780" y="21067"/>
                  </a:lnTo>
                  <a:cubicBezTo>
                    <a:pt x="12780" y="16598"/>
                    <a:pt x="16614" y="12768"/>
                    <a:pt x="21086" y="12768"/>
                  </a:cubicBezTo>
                  <a:lnTo>
                    <a:pt x="140579" y="12768"/>
                  </a:lnTo>
                  <a:cubicBezTo>
                    <a:pt x="145051" y="12768"/>
                    <a:pt x="148885" y="16598"/>
                    <a:pt x="148885" y="21067"/>
                  </a:cubicBezTo>
                  <a:lnTo>
                    <a:pt x="148885" y="92568"/>
                  </a:lnTo>
                  <a:lnTo>
                    <a:pt x="113740" y="92568"/>
                  </a:lnTo>
                  <a:cubicBezTo>
                    <a:pt x="111185" y="81077"/>
                    <a:pt x="101600" y="70224"/>
                    <a:pt x="80513" y="70224"/>
                  </a:cubicBezTo>
                  <a:cubicBezTo>
                    <a:pt x="59426" y="70224"/>
                    <a:pt x="49841" y="81077"/>
                    <a:pt x="47286" y="92568"/>
                  </a:cubicBezTo>
                  <a:lnTo>
                    <a:pt x="34506" y="92568"/>
                  </a:lnTo>
                  <a:cubicBezTo>
                    <a:pt x="30671" y="92568"/>
                    <a:pt x="28116" y="95121"/>
                    <a:pt x="28116" y="98952"/>
                  </a:cubicBezTo>
                  <a:cubicBezTo>
                    <a:pt x="28116" y="102782"/>
                    <a:pt x="30671" y="105336"/>
                    <a:pt x="34506" y="105336"/>
                  </a:cubicBezTo>
                  <a:lnTo>
                    <a:pt x="148885" y="105336"/>
                  </a:lnTo>
                  <a:cubicBezTo>
                    <a:pt x="148246" y="109805"/>
                    <a:pt x="145051" y="112997"/>
                    <a:pt x="140579" y="112997"/>
                  </a:cubicBezTo>
                  <a:lnTo>
                    <a:pt x="34506" y="112997"/>
                  </a:lnTo>
                  <a:cubicBezTo>
                    <a:pt x="30671" y="112997"/>
                    <a:pt x="28116" y="115550"/>
                    <a:pt x="28116" y="119381"/>
                  </a:cubicBezTo>
                  <a:cubicBezTo>
                    <a:pt x="28116" y="123211"/>
                    <a:pt x="30671" y="125765"/>
                    <a:pt x="34506" y="125765"/>
                  </a:cubicBezTo>
                  <a:lnTo>
                    <a:pt x="61982" y="125765"/>
                  </a:lnTo>
                  <a:lnTo>
                    <a:pt x="61982" y="141724"/>
                  </a:lnTo>
                  <a:cubicBezTo>
                    <a:pt x="61982" y="145555"/>
                    <a:pt x="64538" y="148108"/>
                    <a:pt x="68372" y="148108"/>
                  </a:cubicBezTo>
                  <a:lnTo>
                    <a:pt x="155275" y="148108"/>
                  </a:lnTo>
                  <a:cubicBezTo>
                    <a:pt x="159110" y="148108"/>
                    <a:pt x="161665" y="145555"/>
                    <a:pt x="161665" y="141724"/>
                  </a:cubicBezTo>
                  <a:cubicBezTo>
                    <a:pt x="161665" y="137894"/>
                    <a:pt x="159110" y="135341"/>
                    <a:pt x="155275" y="135341"/>
                  </a:cubicBezTo>
                  <a:lnTo>
                    <a:pt x="99044" y="135341"/>
                  </a:lnTo>
                  <a:lnTo>
                    <a:pt x="99044" y="125765"/>
                  </a:lnTo>
                  <a:lnTo>
                    <a:pt x="140579" y="125126"/>
                  </a:lnTo>
                  <a:close/>
                  <a:moveTo>
                    <a:pt x="81152" y="82353"/>
                  </a:moveTo>
                  <a:cubicBezTo>
                    <a:pt x="93932" y="82353"/>
                    <a:pt x="99044" y="87461"/>
                    <a:pt x="100961" y="91929"/>
                  </a:cubicBezTo>
                  <a:lnTo>
                    <a:pt x="61343" y="91929"/>
                  </a:lnTo>
                  <a:cubicBezTo>
                    <a:pt x="63261" y="87461"/>
                    <a:pt x="68372" y="82353"/>
                    <a:pt x="81152" y="82353"/>
                  </a:cubicBezTo>
                  <a:lnTo>
                    <a:pt x="81152" y="82353"/>
                  </a:lnTo>
                  <a:close/>
                  <a:moveTo>
                    <a:pt x="86903" y="134702"/>
                  </a:moveTo>
                  <a:lnTo>
                    <a:pt x="75401" y="134702"/>
                  </a:lnTo>
                  <a:lnTo>
                    <a:pt x="75401" y="125126"/>
                  </a:lnTo>
                  <a:lnTo>
                    <a:pt x="86903" y="125126"/>
                  </a:lnTo>
                  <a:lnTo>
                    <a:pt x="86903" y="1347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A6109B0D-314F-8D3B-D3A5-C8FB931360F2}"/>
                </a:ext>
              </a:extLst>
            </p:cNvPr>
            <p:cNvSpPr/>
            <p:nvPr/>
          </p:nvSpPr>
          <p:spPr>
            <a:xfrm>
              <a:off x="7998283" y="3944186"/>
              <a:ext cx="48564" cy="48518"/>
            </a:xfrm>
            <a:custGeom>
              <a:avLst/>
              <a:gdLst>
                <a:gd name="connsiteX0" fmla="*/ 48564 w 48564"/>
                <a:gd name="connsiteY0" fmla="*/ 24259 h 48518"/>
                <a:gd name="connsiteX1" fmla="*/ 24282 w 48564"/>
                <a:gd name="connsiteY1" fmla="*/ 0 h 48518"/>
                <a:gd name="connsiteX2" fmla="*/ 0 w 48564"/>
                <a:gd name="connsiteY2" fmla="*/ 24259 h 48518"/>
                <a:gd name="connsiteX3" fmla="*/ 24282 w 48564"/>
                <a:gd name="connsiteY3" fmla="*/ 48518 h 48518"/>
                <a:gd name="connsiteX4" fmla="*/ 48564 w 48564"/>
                <a:gd name="connsiteY4" fmla="*/ 24259 h 48518"/>
                <a:gd name="connsiteX5" fmla="*/ 48564 w 48564"/>
                <a:gd name="connsiteY5" fmla="*/ 24259 h 48518"/>
                <a:gd name="connsiteX6" fmla="*/ 13419 w 48564"/>
                <a:gd name="connsiteY6" fmla="*/ 24259 h 48518"/>
                <a:gd name="connsiteX7" fmla="*/ 24921 w 48564"/>
                <a:gd name="connsiteY7" fmla="*/ 12768 h 48518"/>
                <a:gd name="connsiteX8" fmla="*/ 36423 w 48564"/>
                <a:gd name="connsiteY8" fmla="*/ 24259 h 48518"/>
                <a:gd name="connsiteX9" fmla="*/ 24921 w 48564"/>
                <a:gd name="connsiteY9" fmla="*/ 35750 h 48518"/>
                <a:gd name="connsiteX10" fmla="*/ 24921 w 48564"/>
                <a:gd name="connsiteY10" fmla="*/ 35750 h 48518"/>
                <a:gd name="connsiteX11" fmla="*/ 13419 w 48564"/>
                <a:gd name="connsiteY11" fmla="*/ 24259 h 48518"/>
                <a:gd name="connsiteX12" fmla="*/ 13419 w 48564"/>
                <a:gd name="connsiteY12" fmla="*/ 24259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564" h="48518">
                  <a:moveTo>
                    <a:pt x="48564" y="24259"/>
                  </a:moveTo>
                  <a:cubicBezTo>
                    <a:pt x="48564" y="10853"/>
                    <a:pt x="37701" y="0"/>
                    <a:pt x="24282" y="0"/>
                  </a:cubicBezTo>
                  <a:cubicBezTo>
                    <a:pt x="10863" y="0"/>
                    <a:pt x="0" y="10853"/>
                    <a:pt x="0" y="24259"/>
                  </a:cubicBezTo>
                  <a:cubicBezTo>
                    <a:pt x="0" y="37665"/>
                    <a:pt x="10863" y="48518"/>
                    <a:pt x="24282" y="48518"/>
                  </a:cubicBezTo>
                  <a:cubicBezTo>
                    <a:pt x="37701" y="48518"/>
                    <a:pt x="48564" y="37665"/>
                    <a:pt x="48564" y="24259"/>
                  </a:cubicBezTo>
                  <a:cubicBezTo>
                    <a:pt x="48564" y="24259"/>
                    <a:pt x="48564" y="24259"/>
                    <a:pt x="48564" y="24259"/>
                  </a:cubicBezTo>
                  <a:close/>
                  <a:moveTo>
                    <a:pt x="13419" y="24259"/>
                  </a:moveTo>
                  <a:cubicBezTo>
                    <a:pt x="13419" y="17875"/>
                    <a:pt x="18531" y="12768"/>
                    <a:pt x="24921" y="12768"/>
                  </a:cubicBezTo>
                  <a:cubicBezTo>
                    <a:pt x="31311" y="12768"/>
                    <a:pt x="36423" y="17875"/>
                    <a:pt x="36423" y="24259"/>
                  </a:cubicBezTo>
                  <a:cubicBezTo>
                    <a:pt x="36423" y="30643"/>
                    <a:pt x="31311" y="35750"/>
                    <a:pt x="24921" y="35750"/>
                  </a:cubicBezTo>
                  <a:cubicBezTo>
                    <a:pt x="24921" y="35750"/>
                    <a:pt x="24921" y="35750"/>
                    <a:pt x="24921" y="35750"/>
                  </a:cubicBezTo>
                  <a:cubicBezTo>
                    <a:pt x="18531" y="35750"/>
                    <a:pt x="13419" y="30643"/>
                    <a:pt x="13419" y="24259"/>
                  </a:cubicBezTo>
                  <a:cubicBezTo>
                    <a:pt x="13419" y="24259"/>
                    <a:pt x="13419" y="24259"/>
                    <a:pt x="13419" y="2425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7" name="Graphic 4">
            <a:extLst>
              <a:ext uri="{FF2B5EF4-FFF2-40B4-BE49-F238E27FC236}">
                <a16:creationId xmlns:a16="http://schemas.microsoft.com/office/drawing/2014/main" id="{8BCBA0A0-F031-DAA9-0D8D-CE6AB5F8AF32}"/>
              </a:ext>
            </a:extLst>
          </p:cNvPr>
          <p:cNvGrpSpPr>
            <a:grpSpLocks noChangeAspect="1"/>
          </p:cNvGrpSpPr>
          <p:nvPr/>
        </p:nvGrpSpPr>
        <p:grpSpPr>
          <a:xfrm>
            <a:off x="10545444" y="1925192"/>
            <a:ext cx="425668" cy="457202"/>
            <a:chOff x="2647350" y="2451611"/>
            <a:chExt cx="187225" cy="201096"/>
          </a:xfrm>
          <a:solidFill>
            <a:srgbClr val="26890D"/>
          </a:solidFill>
        </p:grpSpPr>
        <p:sp>
          <p:nvSpPr>
            <p:cNvPr id="59" name="Graphic 4">
              <a:extLst>
                <a:ext uri="{FF2B5EF4-FFF2-40B4-BE49-F238E27FC236}">
                  <a16:creationId xmlns:a16="http://schemas.microsoft.com/office/drawing/2014/main" id="{396C80B8-C0E5-6AB4-11FC-3BA3730C7228}"/>
                </a:ext>
              </a:extLst>
            </p:cNvPr>
            <p:cNvSpPr/>
            <p:nvPr/>
          </p:nvSpPr>
          <p:spPr>
            <a:xfrm>
              <a:off x="2709972" y="2639939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FA8AC087-755D-C1DC-612C-CFEF836D32D6}"/>
                </a:ext>
              </a:extLst>
            </p:cNvPr>
            <p:cNvSpPr/>
            <p:nvPr/>
          </p:nvSpPr>
          <p:spPr>
            <a:xfrm>
              <a:off x="2709972" y="2570992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C580C49E-FF8A-7111-5563-DF164748F7E1}"/>
                </a:ext>
              </a:extLst>
            </p:cNvPr>
            <p:cNvSpPr/>
            <p:nvPr/>
          </p:nvSpPr>
          <p:spPr>
            <a:xfrm>
              <a:off x="2709972" y="2502683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7937AF88-B4B8-4EB3-27F1-5EA3BFF37FED}"/>
                </a:ext>
              </a:extLst>
            </p:cNvPr>
            <p:cNvSpPr/>
            <p:nvPr/>
          </p:nvSpPr>
          <p:spPr>
            <a:xfrm>
              <a:off x="2647350" y="2451611"/>
              <a:ext cx="78045" cy="63839"/>
            </a:xfrm>
            <a:custGeom>
              <a:avLst/>
              <a:gdLst>
                <a:gd name="connsiteX0" fmla="*/ 15975 w 78045"/>
                <a:gd name="connsiteY0" fmla="*/ 63840 h 63839"/>
                <a:gd name="connsiteX1" fmla="*/ 39618 w 78045"/>
                <a:gd name="connsiteY1" fmla="*/ 63840 h 63839"/>
                <a:gd name="connsiteX2" fmla="*/ 55593 w 78045"/>
                <a:gd name="connsiteY2" fmla="*/ 47880 h 63839"/>
                <a:gd name="connsiteX3" fmla="*/ 55593 w 78045"/>
                <a:gd name="connsiteY3" fmla="*/ 30005 h 63839"/>
                <a:gd name="connsiteX4" fmla="*/ 76040 w 78045"/>
                <a:gd name="connsiteY4" fmla="*/ 10853 h 63839"/>
                <a:gd name="connsiteX5" fmla="*/ 76679 w 78045"/>
                <a:gd name="connsiteY5" fmla="*/ 1915 h 63839"/>
                <a:gd name="connsiteX6" fmla="*/ 76679 w 78045"/>
                <a:gd name="connsiteY6" fmla="*/ 1915 h 63839"/>
                <a:gd name="connsiteX7" fmla="*/ 67733 w 78045"/>
                <a:gd name="connsiteY7" fmla="*/ 1915 h 63839"/>
                <a:gd name="connsiteX8" fmla="*/ 51759 w 78045"/>
                <a:gd name="connsiteY8" fmla="*/ 16598 h 63839"/>
                <a:gd name="connsiteX9" fmla="*/ 39618 w 78045"/>
                <a:gd name="connsiteY9" fmla="*/ 10853 h 63839"/>
                <a:gd name="connsiteX10" fmla="*/ 15975 w 78045"/>
                <a:gd name="connsiteY10" fmla="*/ 10853 h 63839"/>
                <a:gd name="connsiteX11" fmla="*/ 0 w 78045"/>
                <a:gd name="connsiteY11" fmla="*/ 26813 h 63839"/>
                <a:gd name="connsiteX12" fmla="*/ 0 w 78045"/>
                <a:gd name="connsiteY12" fmla="*/ 48518 h 63839"/>
                <a:gd name="connsiteX13" fmla="*/ 15975 w 78045"/>
                <a:gd name="connsiteY13" fmla="*/ 63840 h 63839"/>
                <a:gd name="connsiteX14" fmla="*/ 15975 w 78045"/>
                <a:gd name="connsiteY14" fmla="*/ 63840 h 63839"/>
                <a:gd name="connsiteX15" fmla="*/ 42813 w 78045"/>
                <a:gd name="connsiteY15" fmla="*/ 47880 h 63839"/>
                <a:gd name="connsiteX16" fmla="*/ 39618 w 78045"/>
                <a:gd name="connsiteY16" fmla="*/ 51072 h 63839"/>
                <a:gd name="connsiteX17" fmla="*/ 15975 w 78045"/>
                <a:gd name="connsiteY17" fmla="*/ 51072 h 63839"/>
                <a:gd name="connsiteX18" fmla="*/ 12780 w 78045"/>
                <a:gd name="connsiteY18" fmla="*/ 47880 h 63839"/>
                <a:gd name="connsiteX19" fmla="*/ 12780 w 78045"/>
                <a:gd name="connsiteY19" fmla="*/ 37027 h 63839"/>
                <a:gd name="connsiteX20" fmla="*/ 25560 w 78045"/>
                <a:gd name="connsiteY20" fmla="*/ 49157 h 63839"/>
                <a:gd name="connsiteX21" fmla="*/ 30033 w 78045"/>
                <a:gd name="connsiteY21" fmla="*/ 51072 h 63839"/>
                <a:gd name="connsiteX22" fmla="*/ 34506 w 78045"/>
                <a:gd name="connsiteY22" fmla="*/ 49157 h 63839"/>
                <a:gd name="connsiteX23" fmla="*/ 42174 w 78045"/>
                <a:gd name="connsiteY23" fmla="*/ 42134 h 63839"/>
                <a:gd name="connsiteX24" fmla="*/ 42174 w 78045"/>
                <a:gd name="connsiteY24" fmla="*/ 47880 h 63839"/>
                <a:gd name="connsiteX25" fmla="*/ 15975 w 78045"/>
                <a:gd name="connsiteY25" fmla="*/ 23621 h 63839"/>
                <a:gd name="connsiteX26" fmla="*/ 39618 w 78045"/>
                <a:gd name="connsiteY26" fmla="*/ 23621 h 63839"/>
                <a:gd name="connsiteX27" fmla="*/ 42174 w 78045"/>
                <a:gd name="connsiteY27" fmla="*/ 24897 h 63839"/>
                <a:gd name="connsiteX28" fmla="*/ 30672 w 78045"/>
                <a:gd name="connsiteY28" fmla="*/ 35750 h 63839"/>
                <a:gd name="connsiteX29" fmla="*/ 21087 w 78045"/>
                <a:gd name="connsiteY29" fmla="*/ 26813 h 63839"/>
                <a:gd name="connsiteX30" fmla="*/ 13419 w 78045"/>
                <a:gd name="connsiteY30" fmla="*/ 26174 h 63839"/>
                <a:gd name="connsiteX31" fmla="*/ 13419 w 78045"/>
                <a:gd name="connsiteY31" fmla="*/ 26174 h 63839"/>
                <a:gd name="connsiteX32" fmla="*/ 15975 w 78045"/>
                <a:gd name="connsiteY32" fmla="*/ 23621 h 63839"/>
                <a:gd name="connsiteX33" fmla="*/ 15975 w 78045"/>
                <a:gd name="connsiteY33" fmla="*/ 23621 h 63839"/>
                <a:gd name="connsiteX34" fmla="*/ 15975 w 78045"/>
                <a:gd name="connsiteY34" fmla="*/ 23621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045" h="63839">
                  <a:moveTo>
                    <a:pt x="15975" y="63840"/>
                  </a:moveTo>
                  <a:lnTo>
                    <a:pt x="39618" y="63840"/>
                  </a:lnTo>
                  <a:cubicBezTo>
                    <a:pt x="48564" y="63840"/>
                    <a:pt x="55593" y="56817"/>
                    <a:pt x="55593" y="47880"/>
                  </a:cubicBezTo>
                  <a:lnTo>
                    <a:pt x="55593" y="30005"/>
                  </a:lnTo>
                  <a:lnTo>
                    <a:pt x="76040" y="10853"/>
                  </a:lnTo>
                  <a:cubicBezTo>
                    <a:pt x="78596" y="8299"/>
                    <a:pt x="78596" y="4469"/>
                    <a:pt x="76679" y="1915"/>
                  </a:cubicBezTo>
                  <a:cubicBezTo>
                    <a:pt x="76679" y="1915"/>
                    <a:pt x="76679" y="1915"/>
                    <a:pt x="76679" y="1915"/>
                  </a:cubicBezTo>
                  <a:cubicBezTo>
                    <a:pt x="74123" y="-638"/>
                    <a:pt x="70289" y="-638"/>
                    <a:pt x="67733" y="1915"/>
                  </a:cubicBezTo>
                  <a:lnTo>
                    <a:pt x="51759" y="16598"/>
                  </a:lnTo>
                  <a:cubicBezTo>
                    <a:pt x="48564" y="12768"/>
                    <a:pt x="44730" y="10853"/>
                    <a:pt x="39618" y="10853"/>
                  </a:cubicBezTo>
                  <a:lnTo>
                    <a:pt x="15975" y="10853"/>
                  </a:lnTo>
                  <a:cubicBezTo>
                    <a:pt x="7029" y="10853"/>
                    <a:pt x="0" y="17875"/>
                    <a:pt x="0" y="26813"/>
                  </a:cubicBezTo>
                  <a:lnTo>
                    <a:pt x="0" y="48518"/>
                  </a:lnTo>
                  <a:cubicBezTo>
                    <a:pt x="639" y="56817"/>
                    <a:pt x="7668" y="63840"/>
                    <a:pt x="15975" y="63840"/>
                  </a:cubicBezTo>
                  <a:lnTo>
                    <a:pt x="15975" y="63840"/>
                  </a:lnTo>
                  <a:close/>
                  <a:moveTo>
                    <a:pt x="42813" y="47880"/>
                  </a:moveTo>
                  <a:cubicBezTo>
                    <a:pt x="42813" y="49795"/>
                    <a:pt x="41535" y="51072"/>
                    <a:pt x="39618" y="51072"/>
                  </a:cubicBezTo>
                  <a:lnTo>
                    <a:pt x="15975" y="51072"/>
                  </a:lnTo>
                  <a:cubicBezTo>
                    <a:pt x="14058" y="51072"/>
                    <a:pt x="12780" y="49795"/>
                    <a:pt x="12780" y="47880"/>
                  </a:cubicBezTo>
                  <a:lnTo>
                    <a:pt x="12780" y="37027"/>
                  </a:lnTo>
                  <a:lnTo>
                    <a:pt x="25560" y="49157"/>
                  </a:lnTo>
                  <a:cubicBezTo>
                    <a:pt x="26838" y="50433"/>
                    <a:pt x="28116" y="51072"/>
                    <a:pt x="30033" y="51072"/>
                  </a:cubicBezTo>
                  <a:cubicBezTo>
                    <a:pt x="31950" y="51072"/>
                    <a:pt x="33228" y="50433"/>
                    <a:pt x="34506" y="49157"/>
                  </a:cubicBezTo>
                  <a:lnTo>
                    <a:pt x="42174" y="42134"/>
                  </a:lnTo>
                  <a:lnTo>
                    <a:pt x="42174" y="47880"/>
                  </a:lnTo>
                  <a:close/>
                  <a:moveTo>
                    <a:pt x="15975" y="23621"/>
                  </a:moveTo>
                  <a:lnTo>
                    <a:pt x="39618" y="23621"/>
                  </a:lnTo>
                  <a:cubicBezTo>
                    <a:pt x="40896" y="23621"/>
                    <a:pt x="41535" y="24259"/>
                    <a:pt x="42174" y="24897"/>
                  </a:cubicBezTo>
                  <a:lnTo>
                    <a:pt x="30672" y="35750"/>
                  </a:lnTo>
                  <a:lnTo>
                    <a:pt x="21087" y="26813"/>
                  </a:lnTo>
                  <a:cubicBezTo>
                    <a:pt x="19170" y="24897"/>
                    <a:pt x="15336" y="24897"/>
                    <a:pt x="13419" y="26174"/>
                  </a:cubicBezTo>
                  <a:lnTo>
                    <a:pt x="13419" y="26174"/>
                  </a:lnTo>
                  <a:cubicBezTo>
                    <a:pt x="13419" y="24897"/>
                    <a:pt x="14697" y="23621"/>
                    <a:pt x="15975" y="23621"/>
                  </a:cubicBezTo>
                  <a:cubicBezTo>
                    <a:pt x="15975" y="23621"/>
                    <a:pt x="15975" y="23621"/>
                    <a:pt x="15975" y="23621"/>
                  </a:cubicBezTo>
                  <a:lnTo>
                    <a:pt x="15975" y="2362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Graphic 4">
              <a:extLst>
                <a:ext uri="{FF2B5EF4-FFF2-40B4-BE49-F238E27FC236}">
                  <a16:creationId xmlns:a16="http://schemas.microsoft.com/office/drawing/2014/main" id="{895A3E19-CAE8-89C9-079C-6010F4378F72}"/>
                </a:ext>
              </a:extLst>
            </p:cNvPr>
            <p:cNvSpPr/>
            <p:nvPr/>
          </p:nvSpPr>
          <p:spPr>
            <a:xfrm>
              <a:off x="2647350" y="2519832"/>
              <a:ext cx="78045" cy="63928"/>
            </a:xfrm>
            <a:custGeom>
              <a:avLst/>
              <a:gdLst>
                <a:gd name="connsiteX0" fmla="*/ 15975 w 78045"/>
                <a:gd name="connsiteY0" fmla="*/ 63928 h 63928"/>
                <a:gd name="connsiteX1" fmla="*/ 39618 w 78045"/>
                <a:gd name="connsiteY1" fmla="*/ 63928 h 63928"/>
                <a:gd name="connsiteX2" fmla="*/ 55593 w 78045"/>
                <a:gd name="connsiteY2" fmla="*/ 47968 h 63928"/>
                <a:gd name="connsiteX3" fmla="*/ 55593 w 78045"/>
                <a:gd name="connsiteY3" fmla="*/ 30093 h 63928"/>
                <a:gd name="connsiteX4" fmla="*/ 76040 w 78045"/>
                <a:gd name="connsiteY4" fmla="*/ 10941 h 63928"/>
                <a:gd name="connsiteX5" fmla="*/ 76679 w 78045"/>
                <a:gd name="connsiteY5" fmla="*/ 2004 h 63928"/>
                <a:gd name="connsiteX6" fmla="*/ 67733 w 78045"/>
                <a:gd name="connsiteY6" fmla="*/ 1365 h 63928"/>
                <a:gd name="connsiteX7" fmla="*/ 67733 w 78045"/>
                <a:gd name="connsiteY7" fmla="*/ 1365 h 63928"/>
                <a:gd name="connsiteX8" fmla="*/ 51759 w 78045"/>
                <a:gd name="connsiteY8" fmla="*/ 16048 h 63928"/>
                <a:gd name="connsiteX9" fmla="*/ 39618 w 78045"/>
                <a:gd name="connsiteY9" fmla="*/ 10303 h 63928"/>
                <a:gd name="connsiteX10" fmla="*/ 15975 w 78045"/>
                <a:gd name="connsiteY10" fmla="*/ 10303 h 63928"/>
                <a:gd name="connsiteX11" fmla="*/ 0 w 78045"/>
                <a:gd name="connsiteY11" fmla="*/ 26263 h 63928"/>
                <a:gd name="connsiteX12" fmla="*/ 0 w 78045"/>
                <a:gd name="connsiteY12" fmla="*/ 47968 h 63928"/>
                <a:gd name="connsiteX13" fmla="*/ 15975 w 78045"/>
                <a:gd name="connsiteY13" fmla="*/ 63928 h 63928"/>
                <a:gd name="connsiteX14" fmla="*/ 42813 w 78045"/>
                <a:gd name="connsiteY14" fmla="*/ 48607 h 63928"/>
                <a:gd name="connsiteX15" fmla="*/ 39618 w 78045"/>
                <a:gd name="connsiteY15" fmla="*/ 51799 h 63928"/>
                <a:gd name="connsiteX16" fmla="*/ 15975 w 78045"/>
                <a:gd name="connsiteY16" fmla="*/ 51799 h 63928"/>
                <a:gd name="connsiteX17" fmla="*/ 12780 w 78045"/>
                <a:gd name="connsiteY17" fmla="*/ 48607 h 63928"/>
                <a:gd name="connsiteX18" fmla="*/ 12780 w 78045"/>
                <a:gd name="connsiteY18" fmla="*/ 37754 h 63928"/>
                <a:gd name="connsiteX19" fmla="*/ 25560 w 78045"/>
                <a:gd name="connsiteY19" fmla="*/ 49883 h 63928"/>
                <a:gd name="connsiteX20" fmla="*/ 34506 w 78045"/>
                <a:gd name="connsiteY20" fmla="*/ 49883 h 63928"/>
                <a:gd name="connsiteX21" fmla="*/ 42174 w 78045"/>
                <a:gd name="connsiteY21" fmla="*/ 42861 h 63928"/>
                <a:gd name="connsiteX22" fmla="*/ 42813 w 78045"/>
                <a:gd name="connsiteY22" fmla="*/ 48607 h 63928"/>
                <a:gd name="connsiteX23" fmla="*/ 15975 w 78045"/>
                <a:gd name="connsiteY23" fmla="*/ 23709 h 63928"/>
                <a:gd name="connsiteX24" fmla="*/ 39618 w 78045"/>
                <a:gd name="connsiteY24" fmla="*/ 23709 h 63928"/>
                <a:gd name="connsiteX25" fmla="*/ 42174 w 78045"/>
                <a:gd name="connsiteY25" fmla="*/ 24986 h 63928"/>
                <a:gd name="connsiteX26" fmla="*/ 30033 w 78045"/>
                <a:gd name="connsiteY26" fmla="*/ 35839 h 63928"/>
                <a:gd name="connsiteX27" fmla="*/ 20448 w 78045"/>
                <a:gd name="connsiteY27" fmla="*/ 26901 h 63928"/>
                <a:gd name="connsiteX28" fmla="*/ 12780 w 78045"/>
                <a:gd name="connsiteY28" fmla="*/ 26263 h 63928"/>
                <a:gd name="connsiteX29" fmla="*/ 12780 w 78045"/>
                <a:gd name="connsiteY29" fmla="*/ 26263 h 63928"/>
                <a:gd name="connsiteX30" fmla="*/ 15975 w 78045"/>
                <a:gd name="connsiteY30" fmla="*/ 23709 h 63928"/>
                <a:gd name="connsiteX31" fmla="*/ 15975 w 78045"/>
                <a:gd name="connsiteY31" fmla="*/ 23709 h 63928"/>
                <a:gd name="connsiteX32" fmla="*/ 15975 w 78045"/>
                <a:gd name="connsiteY32" fmla="*/ 23709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8045" h="63928">
                  <a:moveTo>
                    <a:pt x="15975" y="63928"/>
                  </a:move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639" y="56906"/>
                    <a:pt x="7668" y="63928"/>
                    <a:pt x="15975" y="63928"/>
                  </a:cubicBezTo>
                  <a:close/>
                  <a:moveTo>
                    <a:pt x="42813" y="48607"/>
                  </a:moveTo>
                  <a:cubicBezTo>
                    <a:pt x="42813" y="50522"/>
                    <a:pt x="41535" y="51799"/>
                    <a:pt x="39618" y="51799"/>
                  </a:cubicBezTo>
                  <a:lnTo>
                    <a:pt x="15975" y="51799"/>
                  </a:lnTo>
                  <a:cubicBezTo>
                    <a:pt x="14058" y="51799"/>
                    <a:pt x="12780" y="50522"/>
                    <a:pt x="12780" y="48607"/>
                  </a:cubicBezTo>
                  <a:lnTo>
                    <a:pt x="12780" y="37754"/>
                  </a:lnTo>
                  <a:lnTo>
                    <a:pt x="25560" y="49883"/>
                  </a:lnTo>
                  <a:cubicBezTo>
                    <a:pt x="28116" y="51799"/>
                    <a:pt x="31950" y="51799"/>
                    <a:pt x="34506" y="49883"/>
                  </a:cubicBezTo>
                  <a:lnTo>
                    <a:pt x="42174" y="42861"/>
                  </a:lnTo>
                  <a:lnTo>
                    <a:pt x="42813" y="48607"/>
                  </a:lnTo>
                  <a:close/>
                  <a:moveTo>
                    <a:pt x="15975" y="23709"/>
                  </a:moveTo>
                  <a:lnTo>
                    <a:pt x="39618" y="23709"/>
                  </a:lnTo>
                  <a:cubicBezTo>
                    <a:pt x="40896" y="23709"/>
                    <a:pt x="41535" y="24347"/>
                    <a:pt x="42174" y="24986"/>
                  </a:cubicBezTo>
                  <a:lnTo>
                    <a:pt x="30033" y="35839"/>
                  </a:lnTo>
                  <a:lnTo>
                    <a:pt x="20448" y="26901"/>
                  </a:lnTo>
                  <a:cubicBezTo>
                    <a:pt x="18531" y="24986"/>
                    <a:pt x="14697" y="24986"/>
                    <a:pt x="12780" y="26263"/>
                  </a:cubicBezTo>
                  <a:lnTo>
                    <a:pt x="12780" y="26263"/>
                  </a:lnTo>
                  <a:cubicBezTo>
                    <a:pt x="12780" y="25624"/>
                    <a:pt x="14058" y="23709"/>
                    <a:pt x="15975" y="23709"/>
                  </a:cubicBezTo>
                  <a:cubicBezTo>
                    <a:pt x="15975" y="23709"/>
                    <a:pt x="15975" y="23709"/>
                    <a:pt x="15975" y="23709"/>
                  </a:cubicBezTo>
                  <a:lnTo>
                    <a:pt x="15975" y="2370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CAC754DC-BBF4-9E3C-8D5F-67D2C7C09A1F}"/>
                </a:ext>
              </a:extLst>
            </p:cNvPr>
            <p:cNvSpPr/>
            <p:nvPr/>
          </p:nvSpPr>
          <p:spPr>
            <a:xfrm>
              <a:off x="2647350" y="2588779"/>
              <a:ext cx="78045" cy="63928"/>
            </a:xfrm>
            <a:custGeom>
              <a:avLst/>
              <a:gdLst>
                <a:gd name="connsiteX0" fmla="*/ 76040 w 78045"/>
                <a:gd name="connsiteY0" fmla="*/ 10941 h 63928"/>
                <a:gd name="connsiteX1" fmla="*/ 76679 w 78045"/>
                <a:gd name="connsiteY1" fmla="*/ 2004 h 63928"/>
                <a:gd name="connsiteX2" fmla="*/ 67733 w 78045"/>
                <a:gd name="connsiteY2" fmla="*/ 1365 h 63928"/>
                <a:gd name="connsiteX3" fmla="*/ 67733 w 78045"/>
                <a:gd name="connsiteY3" fmla="*/ 1365 h 63928"/>
                <a:gd name="connsiteX4" fmla="*/ 51759 w 78045"/>
                <a:gd name="connsiteY4" fmla="*/ 16048 h 63928"/>
                <a:gd name="connsiteX5" fmla="*/ 39618 w 78045"/>
                <a:gd name="connsiteY5" fmla="*/ 10303 h 63928"/>
                <a:gd name="connsiteX6" fmla="*/ 15975 w 78045"/>
                <a:gd name="connsiteY6" fmla="*/ 10303 h 63928"/>
                <a:gd name="connsiteX7" fmla="*/ 0 w 78045"/>
                <a:gd name="connsiteY7" fmla="*/ 26263 h 63928"/>
                <a:gd name="connsiteX8" fmla="*/ 0 w 78045"/>
                <a:gd name="connsiteY8" fmla="*/ 47968 h 63928"/>
                <a:gd name="connsiteX9" fmla="*/ 15975 w 78045"/>
                <a:gd name="connsiteY9" fmla="*/ 63928 h 63928"/>
                <a:gd name="connsiteX10" fmla="*/ 39618 w 78045"/>
                <a:gd name="connsiteY10" fmla="*/ 63928 h 63928"/>
                <a:gd name="connsiteX11" fmla="*/ 55593 w 78045"/>
                <a:gd name="connsiteY11" fmla="*/ 47968 h 63928"/>
                <a:gd name="connsiteX12" fmla="*/ 55593 w 78045"/>
                <a:gd name="connsiteY12" fmla="*/ 30093 h 63928"/>
                <a:gd name="connsiteX13" fmla="*/ 76040 w 78045"/>
                <a:gd name="connsiteY13" fmla="*/ 10941 h 63928"/>
                <a:gd name="connsiteX14" fmla="*/ 15975 w 78045"/>
                <a:gd name="connsiteY14" fmla="*/ 23071 h 63928"/>
                <a:gd name="connsiteX15" fmla="*/ 39618 w 78045"/>
                <a:gd name="connsiteY15" fmla="*/ 23071 h 63928"/>
                <a:gd name="connsiteX16" fmla="*/ 42174 w 78045"/>
                <a:gd name="connsiteY16" fmla="*/ 24348 h 63928"/>
                <a:gd name="connsiteX17" fmla="*/ 30033 w 78045"/>
                <a:gd name="connsiteY17" fmla="*/ 35200 h 63928"/>
                <a:gd name="connsiteX18" fmla="*/ 20448 w 78045"/>
                <a:gd name="connsiteY18" fmla="*/ 26263 h 63928"/>
                <a:gd name="connsiteX19" fmla="*/ 12780 w 78045"/>
                <a:gd name="connsiteY19" fmla="*/ 25624 h 63928"/>
                <a:gd name="connsiteX20" fmla="*/ 12780 w 78045"/>
                <a:gd name="connsiteY20" fmla="*/ 25624 h 63928"/>
                <a:gd name="connsiteX21" fmla="*/ 15975 w 78045"/>
                <a:gd name="connsiteY21" fmla="*/ 23071 h 63928"/>
                <a:gd name="connsiteX22" fmla="*/ 15975 w 78045"/>
                <a:gd name="connsiteY22" fmla="*/ 23071 h 63928"/>
                <a:gd name="connsiteX23" fmla="*/ 42813 w 78045"/>
                <a:gd name="connsiteY23" fmla="*/ 47968 h 63928"/>
                <a:gd name="connsiteX24" fmla="*/ 39618 w 78045"/>
                <a:gd name="connsiteY24" fmla="*/ 51160 h 63928"/>
                <a:gd name="connsiteX25" fmla="*/ 15975 w 78045"/>
                <a:gd name="connsiteY25" fmla="*/ 51160 h 63928"/>
                <a:gd name="connsiteX26" fmla="*/ 12780 w 78045"/>
                <a:gd name="connsiteY26" fmla="*/ 47968 h 63928"/>
                <a:gd name="connsiteX27" fmla="*/ 12780 w 78045"/>
                <a:gd name="connsiteY27" fmla="*/ 37116 h 63928"/>
                <a:gd name="connsiteX28" fmla="*/ 25560 w 78045"/>
                <a:gd name="connsiteY28" fmla="*/ 49245 h 63928"/>
                <a:gd name="connsiteX29" fmla="*/ 34506 w 78045"/>
                <a:gd name="connsiteY29" fmla="*/ 49245 h 63928"/>
                <a:gd name="connsiteX30" fmla="*/ 42174 w 78045"/>
                <a:gd name="connsiteY30" fmla="*/ 42223 h 63928"/>
                <a:gd name="connsiteX31" fmla="*/ 42813 w 78045"/>
                <a:gd name="connsiteY31" fmla="*/ 47968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8045" h="63928">
                  <a:moveTo>
                    <a:pt x="76040" y="10941"/>
                  </a:move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0" y="56906"/>
                    <a:pt x="7029" y="63928"/>
                    <a:pt x="15975" y="63928"/>
                  </a:cubicBez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lose/>
                  <a:moveTo>
                    <a:pt x="15975" y="23071"/>
                  </a:moveTo>
                  <a:lnTo>
                    <a:pt x="39618" y="23071"/>
                  </a:lnTo>
                  <a:cubicBezTo>
                    <a:pt x="40896" y="23071"/>
                    <a:pt x="41535" y="23709"/>
                    <a:pt x="42174" y="24348"/>
                  </a:cubicBezTo>
                  <a:lnTo>
                    <a:pt x="30033" y="35200"/>
                  </a:lnTo>
                  <a:lnTo>
                    <a:pt x="20448" y="26263"/>
                  </a:lnTo>
                  <a:cubicBezTo>
                    <a:pt x="18531" y="24348"/>
                    <a:pt x="14697" y="24348"/>
                    <a:pt x="12780" y="25624"/>
                  </a:cubicBezTo>
                  <a:lnTo>
                    <a:pt x="12780" y="25624"/>
                  </a:lnTo>
                  <a:cubicBezTo>
                    <a:pt x="12780" y="24986"/>
                    <a:pt x="14058" y="23709"/>
                    <a:pt x="15975" y="23071"/>
                  </a:cubicBezTo>
                  <a:cubicBezTo>
                    <a:pt x="15975" y="23709"/>
                    <a:pt x="15975" y="23709"/>
                    <a:pt x="15975" y="23071"/>
                  </a:cubicBezTo>
                  <a:close/>
                  <a:moveTo>
                    <a:pt x="42813" y="47968"/>
                  </a:moveTo>
                  <a:cubicBezTo>
                    <a:pt x="42813" y="49884"/>
                    <a:pt x="41535" y="51160"/>
                    <a:pt x="39618" y="51160"/>
                  </a:cubicBezTo>
                  <a:lnTo>
                    <a:pt x="15975" y="51160"/>
                  </a:lnTo>
                  <a:cubicBezTo>
                    <a:pt x="14058" y="51160"/>
                    <a:pt x="12780" y="49884"/>
                    <a:pt x="12780" y="47968"/>
                  </a:cubicBezTo>
                  <a:lnTo>
                    <a:pt x="12780" y="37116"/>
                  </a:lnTo>
                  <a:lnTo>
                    <a:pt x="25560" y="49245"/>
                  </a:lnTo>
                  <a:cubicBezTo>
                    <a:pt x="28116" y="51160"/>
                    <a:pt x="31950" y="51160"/>
                    <a:pt x="34506" y="49245"/>
                  </a:cubicBezTo>
                  <a:lnTo>
                    <a:pt x="42174" y="42223"/>
                  </a:lnTo>
                  <a:lnTo>
                    <a:pt x="42813" y="479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1386695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blue and white circuit board&#10;&#10;Description automatically generated">
            <a:extLst>
              <a:ext uri="{FF2B5EF4-FFF2-40B4-BE49-F238E27FC236}">
                <a16:creationId xmlns:a16="http://schemas.microsoft.com/office/drawing/2014/main" id="{027E9473-106C-520D-75FA-43584FFDCBB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t="10221" b="10221"/>
          <a:stretch>
            <a:fillRect/>
          </a:stretch>
        </p:blipFill>
        <p:spPr/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8505A3F-3797-EB97-C54A-6A78BA22D8A8}"/>
              </a:ext>
            </a:extLst>
          </p:cNvPr>
          <p:cNvSpPr/>
          <p:nvPr/>
        </p:nvSpPr>
        <p:spPr bwMode="gray">
          <a:xfrm flipV="1">
            <a:off x="0" y="0"/>
            <a:ext cx="12192000" cy="34290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0E20DD-1815-10B4-831B-A65A3A8081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4052683" cy="484791"/>
          </a:xfrm>
        </p:spPr>
        <p:txBody>
          <a:bodyPr/>
          <a:lstStyle/>
          <a:p>
            <a:r>
              <a:rPr lang="es-MX" dirty="0">
                <a:solidFill>
                  <a:schemeClr val="bg1"/>
                </a:solidFill>
              </a:rPr>
              <a:t>Tecnologías clave en la transformación digital de la auditorí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51172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>
            <a:extLst>
              <a:ext uri="{FF2B5EF4-FFF2-40B4-BE49-F238E27FC236}">
                <a16:creationId xmlns:a16="http://schemas.microsoft.com/office/drawing/2014/main" id="{E921CD49-BFB7-FD32-35A9-15BF4B98B933}"/>
              </a:ext>
            </a:extLst>
          </p:cNvPr>
          <p:cNvGrpSpPr/>
          <p:nvPr/>
        </p:nvGrpSpPr>
        <p:grpSpPr>
          <a:xfrm>
            <a:off x="2290033" y="1730792"/>
            <a:ext cx="9469574" cy="4159250"/>
            <a:chOff x="2290033" y="1730792"/>
            <a:chExt cx="9469574" cy="4756868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6410E6D-C6BD-D726-1402-D57B382E0629}"/>
                </a:ext>
              </a:extLst>
            </p:cNvPr>
            <p:cNvGrpSpPr/>
            <p:nvPr/>
          </p:nvGrpSpPr>
          <p:grpSpPr>
            <a:xfrm>
              <a:off x="2290033" y="1730792"/>
              <a:ext cx="9450861" cy="3951288"/>
              <a:chOff x="2285757" y="1730791"/>
              <a:chExt cx="8086772" cy="4554538"/>
            </a:xfrm>
          </p:grpSpPr>
          <p:sp>
            <p:nvSpPr>
              <p:cNvPr id="3" name="Rectangle 6">
                <a:extLst>
                  <a:ext uri="{FF2B5EF4-FFF2-40B4-BE49-F238E27FC236}">
                    <a16:creationId xmlns:a16="http://schemas.microsoft.com/office/drawing/2014/main" id="{6CFE592D-8A60-32C7-8A6A-5A6A5D022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4279" y="1730791"/>
                <a:ext cx="2371725" cy="795338"/>
              </a:xfrm>
              <a:prstGeom prst="rect">
                <a:avLst/>
              </a:prstGeom>
              <a:solidFill>
                <a:srgbClr val="696B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" name="Rectangle 7">
                <a:extLst>
                  <a:ext uri="{FF2B5EF4-FFF2-40B4-BE49-F238E27FC236}">
                    <a16:creationId xmlns:a16="http://schemas.microsoft.com/office/drawing/2014/main" id="{1E05959D-20F1-74DF-9624-FB2E5858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141" y="1741904"/>
                <a:ext cx="7037388" cy="795338"/>
              </a:xfrm>
              <a:prstGeom prst="rect">
                <a:avLst/>
              </a:prstGeom>
              <a:noFill/>
              <a:ln w="22225" cap="flat">
                <a:solidFill>
                  <a:srgbClr val="696B7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590ABB06-E47D-6745-085F-97927449A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629" y="2678529"/>
                <a:ext cx="1470025" cy="795338"/>
              </a:xfrm>
              <a:prstGeom prst="rect">
                <a:avLst/>
              </a:prstGeom>
              <a:solidFill>
                <a:srgbClr val="9AD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6" name="Rectangle 9">
                <a:extLst>
                  <a:ext uri="{FF2B5EF4-FFF2-40B4-BE49-F238E27FC236}">
                    <a16:creationId xmlns:a16="http://schemas.microsoft.com/office/drawing/2014/main" id="{8D5A2D2A-32DF-846B-EF39-1BD0A02ED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629" y="2678529"/>
                <a:ext cx="6438900" cy="795338"/>
              </a:xfrm>
              <a:prstGeom prst="rect">
                <a:avLst/>
              </a:prstGeom>
              <a:noFill/>
              <a:ln w="22225" cap="flat">
                <a:solidFill>
                  <a:srgbClr val="9AD3C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7" name="Rectangle 10">
                <a:extLst>
                  <a:ext uri="{FF2B5EF4-FFF2-40B4-BE49-F238E27FC236}">
                    <a16:creationId xmlns:a16="http://schemas.microsoft.com/office/drawing/2014/main" id="{47549CBE-F095-CB16-DE1A-D2F4952263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4254" y="3615154"/>
                <a:ext cx="1746250" cy="796925"/>
              </a:xfrm>
              <a:prstGeom prst="rect">
                <a:avLst/>
              </a:prstGeom>
              <a:solidFill>
                <a:srgbClr val="7FBE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8" name="Rectangle 11">
                <a:extLst>
                  <a:ext uri="{FF2B5EF4-FFF2-40B4-BE49-F238E27FC236}">
                    <a16:creationId xmlns:a16="http://schemas.microsoft.com/office/drawing/2014/main" id="{00E80C1F-156A-865F-86F4-1BC5FC462A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9854" y="3615154"/>
                <a:ext cx="6162675" cy="796925"/>
              </a:xfrm>
              <a:prstGeom prst="rect">
                <a:avLst/>
              </a:prstGeom>
              <a:noFill/>
              <a:ln w="22225" cap="flat">
                <a:solidFill>
                  <a:srgbClr val="7FBE2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9" name="Rectangle 12">
                <a:extLst>
                  <a:ext uri="{FF2B5EF4-FFF2-40B4-BE49-F238E27FC236}">
                    <a16:creationId xmlns:a16="http://schemas.microsoft.com/office/drawing/2014/main" id="{4E8803DD-6F2C-A4E0-8A4E-C5C1B390E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7541" y="4553366"/>
                <a:ext cx="1916113" cy="795338"/>
              </a:xfrm>
              <a:prstGeom prst="rect">
                <a:avLst/>
              </a:prstGeom>
              <a:solidFill>
                <a:srgbClr val="00AA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0" name="Rectangle 13">
                <a:extLst>
                  <a:ext uri="{FF2B5EF4-FFF2-40B4-BE49-F238E27FC236}">
                    <a16:creationId xmlns:a16="http://schemas.microsoft.com/office/drawing/2014/main" id="{757ED718-5A83-1DC3-8A77-A3EEBFCC5D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341" y="4553366"/>
                <a:ext cx="6580188" cy="795338"/>
              </a:xfrm>
              <a:prstGeom prst="rect">
                <a:avLst/>
              </a:prstGeom>
              <a:noFill/>
              <a:ln w="22225" cap="flat">
                <a:solidFill>
                  <a:srgbClr val="00AA3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1" name="Rectangle 14">
                <a:extLst>
                  <a:ext uri="{FF2B5EF4-FFF2-40B4-BE49-F238E27FC236}">
                    <a16:creationId xmlns:a16="http://schemas.microsoft.com/office/drawing/2014/main" id="{43561A59-69E9-54D8-EE7C-965BC9102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5757" y="5487110"/>
                <a:ext cx="2895600" cy="795338"/>
              </a:xfrm>
              <a:prstGeom prst="rect">
                <a:avLst/>
              </a:prstGeom>
              <a:solidFill>
                <a:srgbClr val="9698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2" name="Rectangle 15">
                <a:extLst>
                  <a:ext uri="{FF2B5EF4-FFF2-40B4-BE49-F238E27FC236}">
                    <a16:creationId xmlns:a16="http://schemas.microsoft.com/office/drawing/2014/main" id="{02E3809A-B2BC-AA1B-06AF-F68D4FCAE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0104" y="5489991"/>
                <a:ext cx="7972425" cy="795338"/>
              </a:xfrm>
              <a:prstGeom prst="rect">
                <a:avLst/>
              </a:prstGeom>
              <a:noFill/>
              <a:ln w="22225" cap="flat">
                <a:solidFill>
                  <a:srgbClr val="9698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8" name="文本框 106">
                <a:extLst>
                  <a:ext uri="{FF2B5EF4-FFF2-40B4-BE49-F238E27FC236}">
                    <a16:creationId xmlns:a16="http://schemas.microsoft.com/office/drawing/2014/main" id="{F3DB5AC7-2C1F-09B7-DB1C-5D9541ABBF3D}"/>
                  </a:ext>
                </a:extLst>
              </p:cNvPr>
              <p:cNvSpPr txBox="1"/>
              <p:nvPr/>
            </p:nvSpPr>
            <p:spPr>
              <a:xfrm>
                <a:off x="3795576" y="1939995"/>
                <a:ext cx="1236946" cy="48688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n-US" sz="1200" b="1" dirty="0">
                    <a:solidFill>
                      <a:schemeClr val="bg1"/>
                    </a:solidFill>
                  </a:rPr>
                  <a:t>Software de </a:t>
                </a:r>
                <a:r>
                  <a:rPr lang="en-US" sz="1200" b="1" dirty="0" err="1">
                    <a:solidFill>
                      <a:schemeClr val="bg1"/>
                    </a:solidFill>
                  </a:rPr>
                  <a:t>auditoría</a:t>
                </a:r>
                <a:r>
                  <a:rPr lang="en-US" sz="1200" b="1" dirty="0">
                    <a:solidFill>
                      <a:schemeClr val="bg1"/>
                    </a:solidFill>
                  </a:rPr>
                  <a:t> digital</a:t>
                </a:r>
              </a:p>
            </p:txBody>
          </p:sp>
          <p:sp>
            <p:nvSpPr>
              <p:cNvPr id="49" name="文本框 106">
                <a:extLst>
                  <a:ext uri="{FF2B5EF4-FFF2-40B4-BE49-F238E27FC236}">
                    <a16:creationId xmlns:a16="http://schemas.microsoft.com/office/drawing/2014/main" id="{95F69733-F1B7-CA86-99F1-0A1E80F93E17}"/>
                  </a:ext>
                </a:extLst>
              </p:cNvPr>
              <p:cNvSpPr txBox="1"/>
              <p:nvPr/>
            </p:nvSpPr>
            <p:spPr>
              <a:xfrm>
                <a:off x="5383016" y="1939995"/>
                <a:ext cx="4884341" cy="4308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s-MX" altLang="zh-CN" sz="1200" dirty="0"/>
                  <a:t>Plataformas especializadas que permiten la automatización de tareas, la gestión de documentos y la generación de informes fiscales precisos.</a:t>
                </a:r>
              </a:p>
            </p:txBody>
          </p:sp>
          <p:sp>
            <p:nvSpPr>
              <p:cNvPr id="50" name="文本框 106">
                <a:extLst>
                  <a:ext uri="{FF2B5EF4-FFF2-40B4-BE49-F238E27FC236}">
                    <a16:creationId xmlns:a16="http://schemas.microsoft.com/office/drawing/2014/main" id="{0F9469AC-B7F7-A76A-833C-2FC4703BECA1}"/>
                  </a:ext>
                </a:extLst>
              </p:cNvPr>
              <p:cNvSpPr txBox="1"/>
              <p:nvPr/>
            </p:nvSpPr>
            <p:spPr>
              <a:xfrm>
                <a:off x="4420210" y="5733545"/>
                <a:ext cx="770862" cy="243444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n-US" sz="1200" b="1" dirty="0">
                    <a:solidFill>
                      <a:schemeClr val="bg1"/>
                    </a:solidFill>
                  </a:rPr>
                  <a:t>(NLP)</a:t>
                </a:r>
              </a:p>
            </p:txBody>
          </p:sp>
          <p:sp>
            <p:nvSpPr>
              <p:cNvPr id="51" name="文本框 106">
                <a:extLst>
                  <a:ext uri="{FF2B5EF4-FFF2-40B4-BE49-F238E27FC236}">
                    <a16:creationId xmlns:a16="http://schemas.microsoft.com/office/drawing/2014/main" id="{927CEBF8-8AC4-D335-2488-3A68BC7AE52E}"/>
                  </a:ext>
                </a:extLst>
              </p:cNvPr>
              <p:cNvSpPr txBox="1"/>
              <p:nvPr/>
            </p:nvSpPr>
            <p:spPr>
              <a:xfrm>
                <a:off x="5383016" y="5752629"/>
                <a:ext cx="4884341" cy="21285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s-MX" altLang="zh-CN" sz="1200" dirty="0"/>
                  <a:t>Procesamiento del lenguaje natural para la interpretación de documentos y comunicaciones.</a:t>
                </a:r>
              </a:p>
            </p:txBody>
          </p:sp>
          <p:sp>
            <p:nvSpPr>
              <p:cNvPr id="52" name="文本框 106">
                <a:extLst>
                  <a:ext uri="{FF2B5EF4-FFF2-40B4-BE49-F238E27FC236}">
                    <a16:creationId xmlns:a16="http://schemas.microsoft.com/office/drawing/2014/main" id="{7DD9205D-F661-4D65-9AF8-6672F7F41751}"/>
                  </a:ext>
                </a:extLst>
              </p:cNvPr>
              <p:cNvSpPr txBox="1"/>
              <p:nvPr/>
            </p:nvSpPr>
            <p:spPr>
              <a:xfrm>
                <a:off x="4181930" y="2771439"/>
                <a:ext cx="1127444" cy="48688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n-US" sz="1200" b="1" spc="-30" dirty="0" err="1">
                    <a:solidFill>
                      <a:schemeClr val="bg1"/>
                    </a:solidFill>
                  </a:rPr>
                  <a:t>Inteligencia</a:t>
                </a:r>
                <a:r>
                  <a:rPr lang="en-US" sz="1200" b="1" spc="-30" dirty="0">
                    <a:solidFill>
                      <a:schemeClr val="bg1"/>
                    </a:solidFill>
                  </a:rPr>
                  <a:t> artificial  y machine learning</a:t>
                </a:r>
              </a:p>
            </p:txBody>
          </p:sp>
          <p:sp>
            <p:nvSpPr>
              <p:cNvPr id="53" name="文本框 106">
                <a:extLst>
                  <a:ext uri="{FF2B5EF4-FFF2-40B4-BE49-F238E27FC236}">
                    <a16:creationId xmlns:a16="http://schemas.microsoft.com/office/drawing/2014/main" id="{FF212FAC-87B2-5580-F707-44E9D1B4CEF3}"/>
                  </a:ext>
                </a:extLst>
              </p:cNvPr>
              <p:cNvSpPr txBox="1"/>
              <p:nvPr/>
            </p:nvSpPr>
            <p:spPr>
              <a:xfrm>
                <a:off x="5607124" y="2875582"/>
                <a:ext cx="4563394" cy="4308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s-MX" altLang="zh-CN" sz="1200" dirty="0"/>
                  <a:t>Estas tecnologías pueden mejorar la detección de anomalías y la predicción de riesgos fiscales, optimizando el proceso de auditoría.</a:t>
                </a:r>
              </a:p>
            </p:txBody>
          </p:sp>
          <p:sp>
            <p:nvSpPr>
              <p:cNvPr id="54" name="文本框 106">
                <a:extLst>
                  <a:ext uri="{FF2B5EF4-FFF2-40B4-BE49-F238E27FC236}">
                    <a16:creationId xmlns:a16="http://schemas.microsoft.com/office/drawing/2014/main" id="{BC9AF5A9-96FA-481A-A51F-EAA33ED373E6}"/>
                  </a:ext>
                </a:extLst>
              </p:cNvPr>
              <p:cNvSpPr txBox="1"/>
              <p:nvPr/>
            </p:nvSpPr>
            <p:spPr>
              <a:xfrm>
                <a:off x="4472136" y="4829588"/>
                <a:ext cx="1236946" cy="243444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n-US" sz="1200" b="1" dirty="0">
                    <a:solidFill>
                      <a:schemeClr val="bg1"/>
                    </a:solidFill>
                  </a:rPr>
                  <a:t>Blockchain</a:t>
                </a:r>
              </a:p>
            </p:txBody>
          </p:sp>
          <p:sp>
            <p:nvSpPr>
              <p:cNvPr id="55" name="文本框 106">
                <a:extLst>
                  <a:ext uri="{FF2B5EF4-FFF2-40B4-BE49-F238E27FC236}">
                    <a16:creationId xmlns:a16="http://schemas.microsoft.com/office/drawing/2014/main" id="{9DCB31E2-2DAD-EE03-1E23-D1057EE40FAD}"/>
                  </a:ext>
                </a:extLst>
              </p:cNvPr>
              <p:cNvSpPr txBox="1"/>
              <p:nvPr/>
            </p:nvSpPr>
            <p:spPr>
              <a:xfrm>
                <a:off x="5577223" y="4734545"/>
                <a:ext cx="4593296" cy="4308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s-MX" altLang="zh-CN" sz="1200" dirty="0"/>
                  <a:t>Puede garantizar la seguridad y la integridad de los registros financieros, lo que es especialmente valioso en la auditoría fiscal.</a:t>
                </a:r>
              </a:p>
            </p:txBody>
          </p:sp>
          <p:sp>
            <p:nvSpPr>
              <p:cNvPr id="56" name="文本框 106">
                <a:extLst>
                  <a:ext uri="{FF2B5EF4-FFF2-40B4-BE49-F238E27FC236}">
                    <a16:creationId xmlns:a16="http://schemas.microsoft.com/office/drawing/2014/main" id="{37EAD3A0-CA05-3220-DF3C-F9C557DB2B5B}"/>
                  </a:ext>
                </a:extLst>
              </p:cNvPr>
              <p:cNvSpPr txBox="1"/>
              <p:nvPr/>
            </p:nvSpPr>
            <p:spPr>
              <a:xfrm>
                <a:off x="4377893" y="3792031"/>
                <a:ext cx="1108942" cy="48688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n-US" sz="1200" b="1" dirty="0" err="1">
                    <a:solidFill>
                      <a:schemeClr val="bg1"/>
                    </a:solidFill>
                  </a:rPr>
                  <a:t>Análisis</a:t>
                </a:r>
                <a:r>
                  <a:rPr lang="en-US" sz="1200" b="1" dirty="0">
                    <a:solidFill>
                      <a:schemeClr val="bg1"/>
                    </a:solidFill>
                  </a:rPr>
                  <a:t> de </a:t>
                </a:r>
                <a:r>
                  <a:rPr lang="en-US" sz="1200" b="1" dirty="0" err="1">
                    <a:solidFill>
                      <a:schemeClr val="bg1"/>
                    </a:solidFill>
                  </a:rPr>
                  <a:t>datos</a:t>
                </a:r>
                <a:r>
                  <a:rPr lang="en-US" sz="1200" b="1" dirty="0">
                    <a:solidFill>
                      <a:schemeClr val="bg1"/>
                    </a:solidFill>
                  </a:rPr>
                  <a:t> </a:t>
                </a:r>
                <a:r>
                  <a:rPr lang="en-US" sz="1200" b="1" dirty="0" err="1">
                    <a:solidFill>
                      <a:schemeClr val="bg1"/>
                    </a:solidFill>
                  </a:rPr>
                  <a:t>avanzado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文本框 106">
                <a:extLst>
                  <a:ext uri="{FF2B5EF4-FFF2-40B4-BE49-F238E27FC236}">
                    <a16:creationId xmlns:a16="http://schemas.microsoft.com/office/drawing/2014/main" id="{63611081-237C-F96D-9DD7-749AC79F3CC6}"/>
                  </a:ext>
                </a:extLst>
              </p:cNvPr>
              <p:cNvSpPr txBox="1"/>
              <p:nvPr/>
            </p:nvSpPr>
            <p:spPr>
              <a:xfrm>
                <a:off x="5759752" y="3792031"/>
                <a:ext cx="4507605" cy="4308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SzPct val="100000"/>
                </a:pPr>
                <a:r>
                  <a:rPr lang="es-MX" altLang="zh-CN" sz="1200" dirty="0"/>
                  <a:t>Utilización de herramientas de análisis de datos para identificar patrones, tendencias y posibles irregularidades en los registros financieros.</a:t>
                </a:r>
              </a:p>
            </p:txBody>
          </p:sp>
        </p:grpSp>
        <p:sp>
          <p:nvSpPr>
            <p:cNvPr id="62" name="Rectangle 6">
              <a:extLst>
                <a:ext uri="{FF2B5EF4-FFF2-40B4-BE49-F238E27FC236}">
                  <a16:creationId xmlns:a16="http://schemas.microsoft.com/office/drawing/2014/main" id="{6891DCA0-9181-A204-A28B-F003E5ACA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1359" y="5788024"/>
              <a:ext cx="2771791" cy="689995"/>
            </a:xfrm>
            <a:prstGeom prst="rect">
              <a:avLst/>
            </a:pr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Rectangle 7">
              <a:extLst>
                <a:ext uri="{FF2B5EF4-FFF2-40B4-BE49-F238E27FC236}">
                  <a16:creationId xmlns:a16="http://schemas.microsoft.com/office/drawing/2014/main" id="{C8900435-2EB3-A085-2408-AD138B56B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5141" y="5797665"/>
              <a:ext cx="8224466" cy="689995"/>
            </a:xfrm>
            <a:prstGeom prst="rect">
              <a:avLst/>
            </a:prstGeom>
            <a:noFill/>
            <a:ln w="22225" cap="flat">
              <a:solidFill>
                <a:srgbClr val="696B7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文本框 106">
              <a:extLst>
                <a:ext uri="{FF2B5EF4-FFF2-40B4-BE49-F238E27FC236}">
                  <a16:creationId xmlns:a16="http://schemas.microsoft.com/office/drawing/2014/main" id="{33BF9384-C0CC-76CE-E933-39A8B8EC0262}"/>
                </a:ext>
              </a:extLst>
            </p:cNvPr>
            <p:cNvSpPr txBox="1"/>
            <p:nvPr/>
          </p:nvSpPr>
          <p:spPr>
            <a:xfrm>
              <a:off x="4258537" y="6003469"/>
              <a:ext cx="1282184" cy="21120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200" b="1" dirty="0" err="1">
                  <a:solidFill>
                    <a:schemeClr val="bg1"/>
                  </a:solidFill>
                </a:rPr>
                <a:t>Patrone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文本框 106">
              <a:extLst>
                <a:ext uri="{FF2B5EF4-FFF2-40B4-BE49-F238E27FC236}">
                  <a16:creationId xmlns:a16="http://schemas.microsoft.com/office/drawing/2014/main" id="{DD23375A-1817-E2A4-1E81-2D33CF403827}"/>
                </a:ext>
              </a:extLst>
            </p:cNvPr>
            <p:cNvSpPr txBox="1"/>
            <p:nvPr/>
          </p:nvSpPr>
          <p:spPr>
            <a:xfrm>
              <a:off x="5928455" y="6041320"/>
              <a:ext cx="5708239" cy="21120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s-MX" altLang="zh-CN" sz="1200" dirty="0"/>
                <a:t>Redes neuronales y algoritmos de reconocimiento de patrones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92377A7-7752-E6F7-A8C4-09049D8D3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ecnologías clave en la transformación digital de la auditoría</a:t>
            </a:r>
            <a:endParaRPr lang="en-US" dirty="0"/>
          </a:p>
        </p:txBody>
      </p:sp>
      <p:sp>
        <p:nvSpPr>
          <p:cNvPr id="13" name="Oval 16">
            <a:extLst>
              <a:ext uri="{FF2B5EF4-FFF2-40B4-BE49-F238E27FC236}">
                <a16:creationId xmlns:a16="http://schemas.microsoft.com/office/drawing/2014/main" id="{2BDC56CB-1E47-C12C-D3E3-2B4266BD0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5759" y="1646654"/>
            <a:ext cx="4564063" cy="473551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5B51DD8-8A5C-B9DD-737E-DAF55FA0F55C}"/>
              </a:ext>
            </a:extLst>
          </p:cNvPr>
          <p:cNvGrpSpPr/>
          <p:nvPr/>
        </p:nvGrpSpPr>
        <p:grpSpPr>
          <a:xfrm>
            <a:off x="574479" y="1956216"/>
            <a:ext cx="3759200" cy="4030663"/>
            <a:chOff x="574479" y="1956216"/>
            <a:chExt cx="3759200" cy="4030663"/>
          </a:xfrm>
        </p:grpSpPr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F6F55C9C-7D34-9E90-86B9-941B6817E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016" y="5682079"/>
              <a:ext cx="207963" cy="207963"/>
            </a:xfrm>
            <a:custGeom>
              <a:avLst/>
              <a:gdLst>
                <a:gd name="T0" fmla="*/ 34 w 37"/>
                <a:gd name="T1" fmla="*/ 14 h 37"/>
                <a:gd name="T2" fmla="*/ 24 w 37"/>
                <a:gd name="T3" fmla="*/ 34 h 37"/>
                <a:gd name="T4" fmla="*/ 3 w 37"/>
                <a:gd name="T5" fmla="*/ 24 h 37"/>
                <a:gd name="T6" fmla="*/ 14 w 37"/>
                <a:gd name="T7" fmla="*/ 3 h 37"/>
                <a:gd name="T8" fmla="*/ 34 w 37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4" y="14"/>
                  </a:moveTo>
                  <a:cubicBezTo>
                    <a:pt x="37" y="22"/>
                    <a:pt x="32" y="32"/>
                    <a:pt x="24" y="34"/>
                  </a:cubicBezTo>
                  <a:cubicBezTo>
                    <a:pt x="15" y="37"/>
                    <a:pt x="6" y="32"/>
                    <a:pt x="3" y="24"/>
                  </a:cubicBezTo>
                  <a:cubicBezTo>
                    <a:pt x="0" y="15"/>
                    <a:pt x="5" y="6"/>
                    <a:pt x="14" y="3"/>
                  </a:cubicBezTo>
                  <a:cubicBezTo>
                    <a:pt x="22" y="0"/>
                    <a:pt x="31" y="5"/>
                    <a:pt x="34" y="14"/>
                  </a:cubicBez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CBBDB024-82E0-BD93-6C39-FF9DCD80E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516" y="4986754"/>
              <a:ext cx="214313" cy="209550"/>
            </a:xfrm>
            <a:custGeom>
              <a:avLst/>
              <a:gdLst>
                <a:gd name="T0" fmla="*/ 29 w 38"/>
                <a:gd name="T1" fmla="*/ 6 h 37"/>
                <a:gd name="T2" fmla="*/ 32 w 38"/>
                <a:gd name="T3" fmla="*/ 28 h 37"/>
                <a:gd name="T4" fmla="*/ 9 w 38"/>
                <a:gd name="T5" fmla="*/ 32 h 37"/>
                <a:gd name="T6" fmla="*/ 6 w 38"/>
                <a:gd name="T7" fmla="*/ 9 h 37"/>
                <a:gd name="T8" fmla="*/ 29 w 38"/>
                <a:gd name="T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29" y="6"/>
                  </a:moveTo>
                  <a:cubicBezTo>
                    <a:pt x="36" y="11"/>
                    <a:pt x="38" y="21"/>
                    <a:pt x="32" y="28"/>
                  </a:cubicBezTo>
                  <a:cubicBezTo>
                    <a:pt x="27" y="36"/>
                    <a:pt x="17" y="37"/>
                    <a:pt x="9" y="32"/>
                  </a:cubicBezTo>
                  <a:cubicBezTo>
                    <a:pt x="2" y="27"/>
                    <a:pt x="0" y="16"/>
                    <a:pt x="6" y="9"/>
                  </a:cubicBezTo>
                  <a:cubicBezTo>
                    <a:pt x="11" y="2"/>
                    <a:pt x="21" y="0"/>
                    <a:pt x="29" y="6"/>
                  </a:cubicBezTo>
                  <a:close/>
                </a:path>
              </a:pathLst>
            </a:custGeom>
            <a:solidFill>
              <a:srgbClr val="00A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9">
              <a:extLst>
                <a:ext uri="{FF2B5EF4-FFF2-40B4-BE49-F238E27FC236}">
                  <a16:creationId xmlns:a16="http://schemas.microsoft.com/office/drawing/2014/main" id="{63C9E7B4-3A16-7674-CA0D-DD391D780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341" y="3875504"/>
              <a:ext cx="185738" cy="185738"/>
            </a:xfrm>
            <a:prstGeom prst="ellipse">
              <a:avLst/>
            </a:prstGeom>
            <a:solidFill>
              <a:srgbClr val="7F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0592E02A-B0C0-DB49-5E43-ED722D8F9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516" y="2740441"/>
              <a:ext cx="214313" cy="209550"/>
            </a:xfrm>
            <a:custGeom>
              <a:avLst/>
              <a:gdLst>
                <a:gd name="T0" fmla="*/ 9 w 38"/>
                <a:gd name="T1" fmla="*/ 6 h 37"/>
                <a:gd name="T2" fmla="*/ 32 w 38"/>
                <a:gd name="T3" fmla="*/ 9 h 37"/>
                <a:gd name="T4" fmla="*/ 29 w 38"/>
                <a:gd name="T5" fmla="*/ 32 h 37"/>
                <a:gd name="T6" fmla="*/ 6 w 38"/>
                <a:gd name="T7" fmla="*/ 29 h 37"/>
                <a:gd name="T8" fmla="*/ 9 w 38"/>
                <a:gd name="T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9" y="6"/>
                  </a:moveTo>
                  <a:cubicBezTo>
                    <a:pt x="17" y="0"/>
                    <a:pt x="27" y="2"/>
                    <a:pt x="32" y="9"/>
                  </a:cubicBezTo>
                  <a:cubicBezTo>
                    <a:pt x="38" y="17"/>
                    <a:pt x="36" y="27"/>
                    <a:pt x="29" y="32"/>
                  </a:cubicBezTo>
                  <a:cubicBezTo>
                    <a:pt x="21" y="37"/>
                    <a:pt x="11" y="36"/>
                    <a:pt x="6" y="29"/>
                  </a:cubicBezTo>
                  <a:cubicBezTo>
                    <a:pt x="0" y="21"/>
                    <a:pt x="2" y="11"/>
                    <a:pt x="9" y="6"/>
                  </a:cubicBezTo>
                  <a:close/>
                </a:path>
              </a:pathLst>
            </a:custGeom>
            <a:solidFill>
              <a:srgbClr val="9A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9D38398C-E670-905B-F425-EA8F3C75A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016" y="2046704"/>
              <a:ext cx="207963" cy="207963"/>
            </a:xfrm>
            <a:custGeom>
              <a:avLst/>
              <a:gdLst>
                <a:gd name="T0" fmla="*/ 3 w 37"/>
                <a:gd name="T1" fmla="*/ 14 h 37"/>
                <a:gd name="T2" fmla="*/ 24 w 37"/>
                <a:gd name="T3" fmla="*/ 3 h 37"/>
                <a:gd name="T4" fmla="*/ 34 w 37"/>
                <a:gd name="T5" fmla="*/ 24 h 37"/>
                <a:gd name="T6" fmla="*/ 14 w 37"/>
                <a:gd name="T7" fmla="*/ 35 h 37"/>
                <a:gd name="T8" fmla="*/ 3 w 37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" y="14"/>
                  </a:moveTo>
                  <a:cubicBezTo>
                    <a:pt x="6" y="5"/>
                    <a:pt x="15" y="0"/>
                    <a:pt x="24" y="3"/>
                  </a:cubicBezTo>
                  <a:cubicBezTo>
                    <a:pt x="32" y="6"/>
                    <a:pt x="37" y="15"/>
                    <a:pt x="34" y="24"/>
                  </a:cubicBezTo>
                  <a:cubicBezTo>
                    <a:pt x="31" y="33"/>
                    <a:pt x="22" y="37"/>
                    <a:pt x="14" y="35"/>
                  </a:cubicBezTo>
                  <a:cubicBezTo>
                    <a:pt x="5" y="32"/>
                    <a:pt x="0" y="22"/>
                    <a:pt x="3" y="14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FBC7B56D-0BC5-E370-7078-6F696D216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016" y="5213766"/>
              <a:ext cx="714375" cy="534988"/>
            </a:xfrm>
            <a:custGeom>
              <a:avLst/>
              <a:gdLst>
                <a:gd name="T0" fmla="*/ 4 w 127"/>
                <a:gd name="T1" fmla="*/ 95 h 95"/>
                <a:gd name="T2" fmla="*/ 0 w 127"/>
                <a:gd name="T3" fmla="*/ 87 h 95"/>
                <a:gd name="T4" fmla="*/ 121 w 127"/>
                <a:gd name="T5" fmla="*/ 0 h 95"/>
                <a:gd name="T6" fmla="*/ 127 w 127"/>
                <a:gd name="T7" fmla="*/ 6 h 95"/>
                <a:gd name="T8" fmla="*/ 4 w 127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95">
                  <a:moveTo>
                    <a:pt x="4" y="95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46" y="67"/>
                    <a:pt x="88" y="37"/>
                    <a:pt x="121" y="0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94" y="44"/>
                    <a:pt x="51" y="75"/>
                    <a:pt x="4" y="95"/>
                  </a:cubicBez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95A99335-571A-E5C2-E81D-8451BCEA0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7904" y="4140616"/>
              <a:ext cx="311150" cy="823913"/>
            </a:xfrm>
            <a:custGeom>
              <a:avLst/>
              <a:gdLst>
                <a:gd name="T0" fmla="*/ 8 w 55"/>
                <a:gd name="T1" fmla="*/ 146 h 146"/>
                <a:gd name="T2" fmla="*/ 0 w 55"/>
                <a:gd name="T3" fmla="*/ 141 h 146"/>
                <a:gd name="T4" fmla="*/ 46 w 55"/>
                <a:gd name="T5" fmla="*/ 0 h 146"/>
                <a:gd name="T6" fmla="*/ 55 w 55"/>
                <a:gd name="T7" fmla="*/ 1 h 146"/>
                <a:gd name="T8" fmla="*/ 8 w 55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46">
                  <a:moveTo>
                    <a:pt x="8" y="146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25" y="98"/>
                    <a:pt x="41" y="49"/>
                    <a:pt x="46" y="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0" y="52"/>
                    <a:pt x="34" y="102"/>
                    <a:pt x="8" y="146"/>
                  </a:cubicBezTo>
                  <a:close/>
                </a:path>
              </a:pathLst>
            </a:custGeom>
            <a:solidFill>
              <a:srgbClr val="00A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A7BEB6C6-13CD-0B0E-9DFB-3CA158D8C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7904" y="2978566"/>
              <a:ext cx="311150" cy="823913"/>
            </a:xfrm>
            <a:custGeom>
              <a:avLst/>
              <a:gdLst>
                <a:gd name="T0" fmla="*/ 46 w 55"/>
                <a:gd name="T1" fmla="*/ 146 h 146"/>
                <a:gd name="T2" fmla="*/ 0 w 55"/>
                <a:gd name="T3" fmla="*/ 5 h 146"/>
                <a:gd name="T4" fmla="*/ 8 w 55"/>
                <a:gd name="T5" fmla="*/ 0 h 146"/>
                <a:gd name="T6" fmla="*/ 55 w 55"/>
                <a:gd name="T7" fmla="*/ 145 h 146"/>
                <a:gd name="T8" fmla="*/ 46 w 55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46">
                  <a:moveTo>
                    <a:pt x="46" y="146"/>
                  </a:moveTo>
                  <a:cubicBezTo>
                    <a:pt x="41" y="96"/>
                    <a:pt x="25" y="47"/>
                    <a:pt x="0" y="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4" y="44"/>
                    <a:pt x="50" y="94"/>
                    <a:pt x="55" y="145"/>
                  </a:cubicBezTo>
                  <a:lnTo>
                    <a:pt x="46" y="146"/>
                  </a:lnTo>
                  <a:close/>
                </a:path>
              </a:pathLst>
            </a:custGeom>
            <a:solidFill>
              <a:srgbClr val="7F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2501BE23-67EA-647A-4E48-554D7026D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016" y="2187991"/>
              <a:ext cx="714375" cy="541338"/>
            </a:xfrm>
            <a:custGeom>
              <a:avLst/>
              <a:gdLst>
                <a:gd name="T0" fmla="*/ 121 w 127"/>
                <a:gd name="T1" fmla="*/ 96 h 96"/>
                <a:gd name="T2" fmla="*/ 0 w 127"/>
                <a:gd name="T3" fmla="*/ 9 h 96"/>
                <a:gd name="T4" fmla="*/ 4 w 127"/>
                <a:gd name="T5" fmla="*/ 0 h 96"/>
                <a:gd name="T6" fmla="*/ 127 w 127"/>
                <a:gd name="T7" fmla="*/ 90 h 96"/>
                <a:gd name="T8" fmla="*/ 121 w 127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96">
                  <a:moveTo>
                    <a:pt x="121" y="96"/>
                  </a:moveTo>
                  <a:cubicBezTo>
                    <a:pt x="88" y="58"/>
                    <a:pt x="46" y="28"/>
                    <a:pt x="0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1" y="20"/>
                    <a:pt x="94" y="52"/>
                    <a:pt x="127" y="90"/>
                  </a:cubicBezTo>
                  <a:lnTo>
                    <a:pt x="121" y="96"/>
                  </a:lnTo>
                  <a:close/>
                </a:path>
              </a:pathLst>
            </a:custGeom>
            <a:solidFill>
              <a:srgbClr val="9A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BA81BDA9-EF27-271F-3888-B42044EE0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791" y="5269329"/>
              <a:ext cx="912813" cy="333375"/>
            </a:xfrm>
            <a:custGeom>
              <a:avLst/>
              <a:gdLst>
                <a:gd name="T0" fmla="*/ 162 w 162"/>
                <a:gd name="T1" fmla="*/ 59 h 59"/>
                <a:gd name="T2" fmla="*/ 0 w 162"/>
                <a:gd name="T3" fmla="*/ 7 h 59"/>
                <a:gd name="T4" fmla="*/ 5 w 162"/>
                <a:gd name="T5" fmla="*/ 0 h 59"/>
                <a:gd name="T6" fmla="*/ 162 w 162"/>
                <a:gd name="T7" fmla="*/ 50 h 59"/>
                <a:gd name="T8" fmla="*/ 162 w 162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59">
                  <a:moveTo>
                    <a:pt x="162" y="59"/>
                  </a:moveTo>
                  <a:cubicBezTo>
                    <a:pt x="104" y="59"/>
                    <a:pt x="48" y="41"/>
                    <a:pt x="0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2" y="32"/>
                    <a:pt x="106" y="50"/>
                    <a:pt x="162" y="50"/>
                  </a:cubicBezTo>
                  <a:lnTo>
                    <a:pt x="162" y="59"/>
                  </a:ln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C684E574-283B-DF39-70B2-71ED993BD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91" y="4485104"/>
              <a:ext cx="598488" cy="795338"/>
            </a:xfrm>
            <a:custGeom>
              <a:avLst/>
              <a:gdLst>
                <a:gd name="T0" fmla="*/ 101 w 106"/>
                <a:gd name="T1" fmla="*/ 141 h 141"/>
                <a:gd name="T2" fmla="*/ 0 w 106"/>
                <a:gd name="T3" fmla="*/ 3 h 141"/>
                <a:gd name="T4" fmla="*/ 9 w 106"/>
                <a:gd name="T5" fmla="*/ 0 h 141"/>
                <a:gd name="T6" fmla="*/ 106 w 106"/>
                <a:gd name="T7" fmla="*/ 134 h 141"/>
                <a:gd name="T8" fmla="*/ 101 w 106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41">
                  <a:moveTo>
                    <a:pt x="101" y="141"/>
                  </a:moveTo>
                  <a:cubicBezTo>
                    <a:pt x="54" y="106"/>
                    <a:pt x="19" y="58"/>
                    <a:pt x="0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7" y="54"/>
                    <a:pt x="61" y="100"/>
                    <a:pt x="106" y="134"/>
                  </a:cubicBezTo>
                  <a:lnTo>
                    <a:pt x="101" y="141"/>
                  </a:lnTo>
                  <a:close/>
                </a:path>
              </a:pathLst>
            </a:custGeom>
            <a:solidFill>
              <a:srgbClr val="00A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1B07A440-2E68-C50D-F0E0-A2C1CBF3E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79" y="3491329"/>
              <a:ext cx="147638" cy="965200"/>
            </a:xfrm>
            <a:custGeom>
              <a:avLst/>
              <a:gdLst>
                <a:gd name="T0" fmla="*/ 17 w 26"/>
                <a:gd name="T1" fmla="*/ 171 h 171"/>
                <a:gd name="T2" fmla="*/ 17 w 26"/>
                <a:gd name="T3" fmla="*/ 0 h 171"/>
                <a:gd name="T4" fmla="*/ 26 w 26"/>
                <a:gd name="T5" fmla="*/ 3 h 171"/>
                <a:gd name="T6" fmla="*/ 26 w 26"/>
                <a:gd name="T7" fmla="*/ 168 h 171"/>
                <a:gd name="T8" fmla="*/ 17 w 26"/>
                <a:gd name="T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1">
                  <a:moveTo>
                    <a:pt x="17" y="171"/>
                  </a:moveTo>
                  <a:cubicBezTo>
                    <a:pt x="0" y="115"/>
                    <a:pt x="0" y="56"/>
                    <a:pt x="17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9" y="57"/>
                    <a:pt x="9" y="114"/>
                    <a:pt x="26" y="168"/>
                  </a:cubicBezTo>
                  <a:lnTo>
                    <a:pt x="17" y="171"/>
                  </a:lnTo>
                  <a:close/>
                </a:path>
              </a:pathLst>
            </a:custGeom>
            <a:solidFill>
              <a:srgbClr val="7F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F9C5CDD8-1F03-A731-15CE-66A96E386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91" y="2667416"/>
              <a:ext cx="592138" cy="795338"/>
            </a:xfrm>
            <a:custGeom>
              <a:avLst/>
              <a:gdLst>
                <a:gd name="T0" fmla="*/ 8 w 105"/>
                <a:gd name="T1" fmla="*/ 141 h 141"/>
                <a:gd name="T2" fmla="*/ 0 w 105"/>
                <a:gd name="T3" fmla="*/ 138 h 141"/>
                <a:gd name="T4" fmla="*/ 100 w 105"/>
                <a:gd name="T5" fmla="*/ 0 h 141"/>
                <a:gd name="T6" fmla="*/ 105 w 105"/>
                <a:gd name="T7" fmla="*/ 7 h 141"/>
                <a:gd name="T8" fmla="*/ 8 w 105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41">
                  <a:moveTo>
                    <a:pt x="8" y="141"/>
                  </a:moveTo>
                  <a:cubicBezTo>
                    <a:pt x="0" y="138"/>
                    <a:pt x="0" y="138"/>
                    <a:pt x="0" y="138"/>
                  </a:cubicBezTo>
                  <a:cubicBezTo>
                    <a:pt x="19" y="83"/>
                    <a:pt x="53" y="35"/>
                    <a:pt x="100" y="0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60" y="41"/>
                    <a:pt x="26" y="87"/>
                    <a:pt x="8" y="141"/>
                  </a:cubicBezTo>
                  <a:close/>
                </a:path>
              </a:pathLst>
            </a:custGeom>
            <a:solidFill>
              <a:srgbClr val="9A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23B38EE4-FA97-5EF6-51B9-044C2057A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0441" y="2334041"/>
              <a:ext cx="912813" cy="344488"/>
            </a:xfrm>
            <a:custGeom>
              <a:avLst/>
              <a:gdLst>
                <a:gd name="T0" fmla="*/ 5 w 162"/>
                <a:gd name="T1" fmla="*/ 61 h 61"/>
                <a:gd name="T2" fmla="*/ 0 w 162"/>
                <a:gd name="T3" fmla="*/ 53 h 61"/>
                <a:gd name="T4" fmla="*/ 162 w 162"/>
                <a:gd name="T5" fmla="*/ 0 h 61"/>
                <a:gd name="T6" fmla="*/ 162 w 162"/>
                <a:gd name="T7" fmla="*/ 9 h 61"/>
                <a:gd name="T8" fmla="*/ 5 w 162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61">
                  <a:moveTo>
                    <a:pt x="5" y="61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47" y="20"/>
                    <a:pt x="103" y="1"/>
                    <a:pt x="162" y="0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05" y="10"/>
                    <a:pt x="51" y="28"/>
                    <a:pt x="5" y="61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989DE91F-A1D7-50D5-99F4-6045E20D0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4416" y="5591591"/>
              <a:ext cx="411163" cy="395288"/>
            </a:xfrm>
            <a:custGeom>
              <a:avLst/>
              <a:gdLst>
                <a:gd name="T0" fmla="*/ 37 w 73"/>
                <a:gd name="T1" fmla="*/ 70 h 70"/>
                <a:gd name="T2" fmla="*/ 3 w 73"/>
                <a:gd name="T3" fmla="*/ 46 h 70"/>
                <a:gd name="T4" fmla="*/ 5 w 73"/>
                <a:gd name="T5" fmla="*/ 19 h 70"/>
                <a:gd name="T6" fmla="*/ 26 w 73"/>
                <a:gd name="T7" fmla="*/ 2 h 70"/>
                <a:gd name="T8" fmla="*/ 37 w 73"/>
                <a:gd name="T9" fmla="*/ 0 h 70"/>
                <a:gd name="T10" fmla="*/ 70 w 73"/>
                <a:gd name="T11" fmla="*/ 24 h 70"/>
                <a:gd name="T12" fmla="*/ 68 w 73"/>
                <a:gd name="T13" fmla="*/ 51 h 70"/>
                <a:gd name="T14" fmla="*/ 47 w 73"/>
                <a:gd name="T15" fmla="*/ 68 h 70"/>
                <a:gd name="T16" fmla="*/ 37 w 73"/>
                <a:gd name="T17" fmla="*/ 70 h 70"/>
                <a:gd name="T18" fmla="*/ 37 w 73"/>
                <a:gd name="T19" fmla="*/ 9 h 70"/>
                <a:gd name="T20" fmla="*/ 29 w 73"/>
                <a:gd name="T21" fmla="*/ 10 h 70"/>
                <a:gd name="T22" fmla="*/ 13 w 73"/>
                <a:gd name="T23" fmla="*/ 23 h 70"/>
                <a:gd name="T24" fmla="*/ 12 w 73"/>
                <a:gd name="T25" fmla="*/ 43 h 70"/>
                <a:gd name="T26" fmla="*/ 37 w 73"/>
                <a:gd name="T27" fmla="*/ 61 h 70"/>
                <a:gd name="T28" fmla="*/ 45 w 73"/>
                <a:gd name="T29" fmla="*/ 59 h 70"/>
                <a:gd name="T30" fmla="*/ 60 w 73"/>
                <a:gd name="T31" fmla="*/ 47 h 70"/>
                <a:gd name="T32" fmla="*/ 61 w 73"/>
                <a:gd name="T33" fmla="*/ 27 h 70"/>
                <a:gd name="T34" fmla="*/ 37 w 73"/>
                <a:gd name="T35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0">
                  <a:moveTo>
                    <a:pt x="37" y="70"/>
                  </a:moveTo>
                  <a:cubicBezTo>
                    <a:pt x="21" y="70"/>
                    <a:pt x="8" y="60"/>
                    <a:pt x="3" y="46"/>
                  </a:cubicBezTo>
                  <a:cubicBezTo>
                    <a:pt x="0" y="37"/>
                    <a:pt x="1" y="27"/>
                    <a:pt x="5" y="19"/>
                  </a:cubicBezTo>
                  <a:cubicBezTo>
                    <a:pt x="10" y="11"/>
                    <a:pt x="17" y="4"/>
                    <a:pt x="26" y="2"/>
                  </a:cubicBezTo>
                  <a:cubicBezTo>
                    <a:pt x="29" y="0"/>
                    <a:pt x="33" y="0"/>
                    <a:pt x="37" y="0"/>
                  </a:cubicBezTo>
                  <a:cubicBezTo>
                    <a:pt x="52" y="0"/>
                    <a:pt x="65" y="10"/>
                    <a:pt x="70" y="24"/>
                  </a:cubicBezTo>
                  <a:cubicBezTo>
                    <a:pt x="73" y="33"/>
                    <a:pt x="72" y="42"/>
                    <a:pt x="68" y="51"/>
                  </a:cubicBezTo>
                  <a:cubicBezTo>
                    <a:pt x="64" y="59"/>
                    <a:pt x="56" y="65"/>
                    <a:pt x="47" y="68"/>
                  </a:cubicBezTo>
                  <a:cubicBezTo>
                    <a:pt x="44" y="69"/>
                    <a:pt x="40" y="70"/>
                    <a:pt x="37" y="70"/>
                  </a:cubicBezTo>
                  <a:close/>
                  <a:moveTo>
                    <a:pt x="37" y="9"/>
                  </a:moveTo>
                  <a:cubicBezTo>
                    <a:pt x="34" y="9"/>
                    <a:pt x="31" y="9"/>
                    <a:pt x="29" y="10"/>
                  </a:cubicBezTo>
                  <a:cubicBezTo>
                    <a:pt x="22" y="12"/>
                    <a:pt x="17" y="17"/>
                    <a:pt x="13" y="23"/>
                  </a:cubicBezTo>
                  <a:cubicBezTo>
                    <a:pt x="10" y="29"/>
                    <a:pt x="10" y="36"/>
                    <a:pt x="12" y="43"/>
                  </a:cubicBezTo>
                  <a:cubicBezTo>
                    <a:pt x="15" y="54"/>
                    <a:pt x="25" y="61"/>
                    <a:pt x="37" y="61"/>
                  </a:cubicBezTo>
                  <a:cubicBezTo>
                    <a:pt x="39" y="61"/>
                    <a:pt x="42" y="60"/>
                    <a:pt x="45" y="59"/>
                  </a:cubicBezTo>
                  <a:cubicBezTo>
                    <a:pt x="51" y="57"/>
                    <a:pt x="57" y="53"/>
                    <a:pt x="60" y="47"/>
                  </a:cubicBezTo>
                  <a:cubicBezTo>
                    <a:pt x="63" y="40"/>
                    <a:pt x="63" y="33"/>
                    <a:pt x="61" y="27"/>
                  </a:cubicBezTo>
                  <a:cubicBezTo>
                    <a:pt x="58" y="16"/>
                    <a:pt x="48" y="9"/>
                    <a:pt x="37" y="9"/>
                  </a:cubicBez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2">
              <a:extLst>
                <a:ext uri="{FF2B5EF4-FFF2-40B4-BE49-F238E27FC236}">
                  <a16:creationId xmlns:a16="http://schemas.microsoft.com/office/drawing/2014/main" id="{60D06E71-DC31-CA88-2283-1EED42B9E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1679" y="4896266"/>
              <a:ext cx="406400" cy="395288"/>
            </a:xfrm>
            <a:custGeom>
              <a:avLst/>
              <a:gdLst>
                <a:gd name="T0" fmla="*/ 36 w 72"/>
                <a:gd name="T1" fmla="*/ 70 h 70"/>
                <a:gd name="T2" fmla="*/ 15 w 72"/>
                <a:gd name="T3" fmla="*/ 63 h 70"/>
                <a:gd name="T4" fmla="*/ 1 w 72"/>
                <a:gd name="T5" fmla="*/ 40 h 70"/>
                <a:gd name="T6" fmla="*/ 8 w 72"/>
                <a:gd name="T7" fmla="*/ 14 h 70"/>
                <a:gd name="T8" fmla="*/ 36 w 72"/>
                <a:gd name="T9" fmla="*/ 0 h 70"/>
                <a:gd name="T10" fmla="*/ 56 w 72"/>
                <a:gd name="T11" fmla="*/ 7 h 70"/>
                <a:gd name="T12" fmla="*/ 70 w 72"/>
                <a:gd name="T13" fmla="*/ 29 h 70"/>
                <a:gd name="T14" fmla="*/ 64 w 72"/>
                <a:gd name="T15" fmla="*/ 55 h 70"/>
                <a:gd name="T16" fmla="*/ 36 w 72"/>
                <a:gd name="T17" fmla="*/ 70 h 70"/>
                <a:gd name="T18" fmla="*/ 36 w 72"/>
                <a:gd name="T19" fmla="*/ 9 h 70"/>
                <a:gd name="T20" fmla="*/ 15 w 72"/>
                <a:gd name="T21" fmla="*/ 20 h 70"/>
                <a:gd name="T22" fmla="*/ 10 w 72"/>
                <a:gd name="T23" fmla="*/ 39 h 70"/>
                <a:gd name="T24" fmla="*/ 21 w 72"/>
                <a:gd name="T25" fmla="*/ 56 h 70"/>
                <a:gd name="T26" fmla="*/ 36 w 72"/>
                <a:gd name="T27" fmla="*/ 61 h 70"/>
                <a:gd name="T28" fmla="*/ 57 w 72"/>
                <a:gd name="T29" fmla="*/ 50 h 70"/>
                <a:gd name="T30" fmla="*/ 62 w 72"/>
                <a:gd name="T31" fmla="*/ 31 h 70"/>
                <a:gd name="T32" fmla="*/ 51 w 72"/>
                <a:gd name="T33" fmla="*/ 14 h 70"/>
                <a:gd name="T34" fmla="*/ 36 w 72"/>
                <a:gd name="T35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0">
                  <a:moveTo>
                    <a:pt x="36" y="70"/>
                  </a:moveTo>
                  <a:cubicBezTo>
                    <a:pt x="28" y="70"/>
                    <a:pt x="21" y="67"/>
                    <a:pt x="15" y="63"/>
                  </a:cubicBezTo>
                  <a:cubicBezTo>
                    <a:pt x="8" y="58"/>
                    <a:pt x="3" y="50"/>
                    <a:pt x="1" y="40"/>
                  </a:cubicBezTo>
                  <a:cubicBezTo>
                    <a:pt x="0" y="31"/>
                    <a:pt x="2" y="22"/>
                    <a:pt x="8" y="14"/>
                  </a:cubicBezTo>
                  <a:cubicBezTo>
                    <a:pt x="14" y="5"/>
                    <a:pt x="25" y="0"/>
                    <a:pt x="36" y="0"/>
                  </a:cubicBezTo>
                  <a:cubicBezTo>
                    <a:pt x="43" y="0"/>
                    <a:pt x="50" y="2"/>
                    <a:pt x="56" y="7"/>
                  </a:cubicBezTo>
                  <a:cubicBezTo>
                    <a:pt x="64" y="12"/>
                    <a:pt x="69" y="20"/>
                    <a:pt x="70" y="29"/>
                  </a:cubicBezTo>
                  <a:cubicBezTo>
                    <a:pt x="72" y="39"/>
                    <a:pt x="70" y="48"/>
                    <a:pt x="64" y="55"/>
                  </a:cubicBezTo>
                  <a:cubicBezTo>
                    <a:pt x="58" y="64"/>
                    <a:pt x="47" y="70"/>
                    <a:pt x="36" y="70"/>
                  </a:cubicBezTo>
                  <a:close/>
                  <a:moveTo>
                    <a:pt x="36" y="9"/>
                  </a:moveTo>
                  <a:cubicBezTo>
                    <a:pt x="28" y="9"/>
                    <a:pt x="20" y="13"/>
                    <a:pt x="15" y="20"/>
                  </a:cubicBezTo>
                  <a:cubicBezTo>
                    <a:pt x="11" y="25"/>
                    <a:pt x="9" y="32"/>
                    <a:pt x="10" y="39"/>
                  </a:cubicBezTo>
                  <a:cubicBezTo>
                    <a:pt x="11" y="46"/>
                    <a:pt x="15" y="52"/>
                    <a:pt x="21" y="56"/>
                  </a:cubicBezTo>
                  <a:cubicBezTo>
                    <a:pt x="25" y="59"/>
                    <a:pt x="30" y="61"/>
                    <a:pt x="36" y="61"/>
                  </a:cubicBezTo>
                  <a:cubicBezTo>
                    <a:pt x="44" y="61"/>
                    <a:pt x="52" y="57"/>
                    <a:pt x="57" y="50"/>
                  </a:cubicBezTo>
                  <a:cubicBezTo>
                    <a:pt x="61" y="44"/>
                    <a:pt x="63" y="38"/>
                    <a:pt x="62" y="31"/>
                  </a:cubicBezTo>
                  <a:cubicBezTo>
                    <a:pt x="60" y="24"/>
                    <a:pt x="57" y="18"/>
                    <a:pt x="51" y="14"/>
                  </a:cubicBezTo>
                  <a:cubicBezTo>
                    <a:pt x="47" y="11"/>
                    <a:pt x="41" y="9"/>
                    <a:pt x="36" y="9"/>
                  </a:cubicBezTo>
                  <a:close/>
                </a:path>
              </a:pathLst>
            </a:custGeom>
            <a:solidFill>
              <a:srgbClr val="00A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50C1C097-CCEB-E9B8-4CCF-E57608ED8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4741" y="3773904"/>
              <a:ext cx="388938" cy="395288"/>
            </a:xfrm>
            <a:custGeom>
              <a:avLst/>
              <a:gdLst>
                <a:gd name="T0" fmla="*/ 35 w 69"/>
                <a:gd name="T1" fmla="*/ 70 h 70"/>
                <a:gd name="T2" fmla="*/ 0 w 69"/>
                <a:gd name="T3" fmla="*/ 35 h 70"/>
                <a:gd name="T4" fmla="*/ 35 w 69"/>
                <a:gd name="T5" fmla="*/ 0 h 70"/>
                <a:gd name="T6" fmla="*/ 69 w 69"/>
                <a:gd name="T7" fmla="*/ 35 h 70"/>
                <a:gd name="T8" fmla="*/ 35 w 69"/>
                <a:gd name="T9" fmla="*/ 70 h 70"/>
                <a:gd name="T10" fmla="*/ 35 w 69"/>
                <a:gd name="T11" fmla="*/ 9 h 70"/>
                <a:gd name="T12" fmla="*/ 9 w 69"/>
                <a:gd name="T13" fmla="*/ 35 h 70"/>
                <a:gd name="T14" fmla="*/ 35 w 69"/>
                <a:gd name="T15" fmla="*/ 61 h 70"/>
                <a:gd name="T16" fmla="*/ 60 w 69"/>
                <a:gd name="T17" fmla="*/ 35 h 70"/>
                <a:gd name="T18" fmla="*/ 35 w 69"/>
                <a:gd name="T19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0">
                  <a:moveTo>
                    <a:pt x="35" y="70"/>
                  </a:moveTo>
                  <a:cubicBezTo>
                    <a:pt x="15" y="70"/>
                    <a:pt x="0" y="54"/>
                    <a:pt x="0" y="35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4" y="0"/>
                    <a:pt x="69" y="16"/>
                    <a:pt x="69" y="35"/>
                  </a:cubicBezTo>
                  <a:cubicBezTo>
                    <a:pt x="69" y="54"/>
                    <a:pt x="54" y="70"/>
                    <a:pt x="35" y="70"/>
                  </a:cubicBezTo>
                  <a:close/>
                  <a:moveTo>
                    <a:pt x="35" y="9"/>
                  </a:moveTo>
                  <a:cubicBezTo>
                    <a:pt x="20" y="9"/>
                    <a:pt x="9" y="21"/>
                    <a:pt x="9" y="35"/>
                  </a:cubicBezTo>
                  <a:cubicBezTo>
                    <a:pt x="9" y="49"/>
                    <a:pt x="20" y="61"/>
                    <a:pt x="35" y="61"/>
                  </a:cubicBezTo>
                  <a:cubicBezTo>
                    <a:pt x="49" y="61"/>
                    <a:pt x="60" y="49"/>
                    <a:pt x="60" y="35"/>
                  </a:cubicBezTo>
                  <a:cubicBezTo>
                    <a:pt x="60" y="21"/>
                    <a:pt x="49" y="9"/>
                    <a:pt x="35" y="9"/>
                  </a:cubicBezTo>
                  <a:close/>
                </a:path>
              </a:pathLst>
            </a:custGeom>
            <a:solidFill>
              <a:srgbClr val="7F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4">
              <a:extLst>
                <a:ext uri="{FF2B5EF4-FFF2-40B4-BE49-F238E27FC236}">
                  <a16:creationId xmlns:a16="http://schemas.microsoft.com/office/drawing/2014/main" id="{BA8A6415-85F5-210D-6E31-E891FB36E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1679" y="2649954"/>
              <a:ext cx="406400" cy="395288"/>
            </a:xfrm>
            <a:custGeom>
              <a:avLst/>
              <a:gdLst>
                <a:gd name="T0" fmla="*/ 36 w 72"/>
                <a:gd name="T1" fmla="*/ 70 h 70"/>
                <a:gd name="T2" fmla="*/ 8 w 72"/>
                <a:gd name="T3" fmla="*/ 55 h 70"/>
                <a:gd name="T4" fmla="*/ 1 w 72"/>
                <a:gd name="T5" fmla="*/ 29 h 70"/>
                <a:gd name="T6" fmla="*/ 15 w 72"/>
                <a:gd name="T7" fmla="*/ 7 h 70"/>
                <a:gd name="T8" fmla="*/ 36 w 72"/>
                <a:gd name="T9" fmla="*/ 0 h 70"/>
                <a:gd name="T10" fmla="*/ 64 w 72"/>
                <a:gd name="T11" fmla="*/ 14 h 70"/>
                <a:gd name="T12" fmla="*/ 70 w 72"/>
                <a:gd name="T13" fmla="*/ 40 h 70"/>
                <a:gd name="T14" fmla="*/ 56 w 72"/>
                <a:gd name="T15" fmla="*/ 63 h 70"/>
                <a:gd name="T16" fmla="*/ 36 w 72"/>
                <a:gd name="T17" fmla="*/ 70 h 70"/>
                <a:gd name="T18" fmla="*/ 36 w 72"/>
                <a:gd name="T19" fmla="*/ 9 h 70"/>
                <a:gd name="T20" fmla="*/ 21 w 72"/>
                <a:gd name="T21" fmla="*/ 14 h 70"/>
                <a:gd name="T22" fmla="*/ 10 w 72"/>
                <a:gd name="T23" fmla="*/ 31 h 70"/>
                <a:gd name="T24" fmla="*/ 15 w 72"/>
                <a:gd name="T25" fmla="*/ 50 h 70"/>
                <a:gd name="T26" fmla="*/ 36 w 72"/>
                <a:gd name="T27" fmla="*/ 61 h 70"/>
                <a:gd name="T28" fmla="*/ 51 w 72"/>
                <a:gd name="T29" fmla="*/ 56 h 70"/>
                <a:gd name="T30" fmla="*/ 62 w 72"/>
                <a:gd name="T31" fmla="*/ 39 h 70"/>
                <a:gd name="T32" fmla="*/ 57 w 72"/>
                <a:gd name="T33" fmla="*/ 20 h 70"/>
                <a:gd name="T34" fmla="*/ 36 w 72"/>
                <a:gd name="T35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0">
                  <a:moveTo>
                    <a:pt x="36" y="70"/>
                  </a:moveTo>
                  <a:cubicBezTo>
                    <a:pt x="25" y="70"/>
                    <a:pt x="14" y="64"/>
                    <a:pt x="8" y="55"/>
                  </a:cubicBezTo>
                  <a:cubicBezTo>
                    <a:pt x="2" y="48"/>
                    <a:pt x="0" y="39"/>
                    <a:pt x="1" y="29"/>
                  </a:cubicBezTo>
                  <a:cubicBezTo>
                    <a:pt x="3" y="20"/>
                    <a:pt x="8" y="12"/>
                    <a:pt x="15" y="7"/>
                  </a:cubicBezTo>
                  <a:cubicBezTo>
                    <a:pt x="21" y="2"/>
                    <a:pt x="28" y="0"/>
                    <a:pt x="36" y="0"/>
                  </a:cubicBezTo>
                  <a:cubicBezTo>
                    <a:pt x="47" y="0"/>
                    <a:pt x="58" y="5"/>
                    <a:pt x="64" y="14"/>
                  </a:cubicBezTo>
                  <a:cubicBezTo>
                    <a:pt x="70" y="22"/>
                    <a:pt x="72" y="31"/>
                    <a:pt x="70" y="40"/>
                  </a:cubicBezTo>
                  <a:cubicBezTo>
                    <a:pt x="69" y="50"/>
                    <a:pt x="64" y="58"/>
                    <a:pt x="56" y="63"/>
                  </a:cubicBezTo>
                  <a:cubicBezTo>
                    <a:pt x="50" y="68"/>
                    <a:pt x="43" y="70"/>
                    <a:pt x="36" y="70"/>
                  </a:cubicBezTo>
                  <a:close/>
                  <a:moveTo>
                    <a:pt x="36" y="9"/>
                  </a:moveTo>
                  <a:cubicBezTo>
                    <a:pt x="30" y="9"/>
                    <a:pt x="25" y="11"/>
                    <a:pt x="21" y="14"/>
                  </a:cubicBezTo>
                  <a:cubicBezTo>
                    <a:pt x="15" y="18"/>
                    <a:pt x="11" y="24"/>
                    <a:pt x="10" y="31"/>
                  </a:cubicBezTo>
                  <a:cubicBezTo>
                    <a:pt x="9" y="38"/>
                    <a:pt x="11" y="45"/>
                    <a:pt x="15" y="50"/>
                  </a:cubicBezTo>
                  <a:cubicBezTo>
                    <a:pt x="20" y="57"/>
                    <a:pt x="28" y="61"/>
                    <a:pt x="36" y="61"/>
                  </a:cubicBezTo>
                  <a:cubicBezTo>
                    <a:pt x="41" y="61"/>
                    <a:pt x="47" y="59"/>
                    <a:pt x="51" y="56"/>
                  </a:cubicBezTo>
                  <a:cubicBezTo>
                    <a:pt x="57" y="52"/>
                    <a:pt x="60" y="46"/>
                    <a:pt x="62" y="39"/>
                  </a:cubicBezTo>
                  <a:cubicBezTo>
                    <a:pt x="63" y="32"/>
                    <a:pt x="61" y="25"/>
                    <a:pt x="57" y="20"/>
                  </a:cubicBezTo>
                  <a:cubicBezTo>
                    <a:pt x="52" y="13"/>
                    <a:pt x="44" y="9"/>
                    <a:pt x="36" y="9"/>
                  </a:cubicBezTo>
                  <a:close/>
                </a:path>
              </a:pathLst>
            </a:custGeom>
            <a:solidFill>
              <a:srgbClr val="9A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5">
              <a:extLst>
                <a:ext uri="{FF2B5EF4-FFF2-40B4-BE49-F238E27FC236}">
                  <a16:creationId xmlns:a16="http://schemas.microsoft.com/office/drawing/2014/main" id="{5B6176A4-798F-8BC4-319E-273453D2A8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4416" y="1956216"/>
              <a:ext cx="411163" cy="395288"/>
            </a:xfrm>
            <a:custGeom>
              <a:avLst/>
              <a:gdLst>
                <a:gd name="T0" fmla="*/ 37 w 73"/>
                <a:gd name="T1" fmla="*/ 70 h 70"/>
                <a:gd name="T2" fmla="*/ 26 w 73"/>
                <a:gd name="T3" fmla="*/ 68 h 70"/>
                <a:gd name="T4" fmla="*/ 5 w 73"/>
                <a:gd name="T5" fmla="*/ 51 h 70"/>
                <a:gd name="T6" fmla="*/ 3 w 73"/>
                <a:gd name="T7" fmla="*/ 24 h 70"/>
                <a:gd name="T8" fmla="*/ 37 w 73"/>
                <a:gd name="T9" fmla="*/ 0 h 70"/>
                <a:gd name="T10" fmla="*/ 47 w 73"/>
                <a:gd name="T11" fmla="*/ 2 h 70"/>
                <a:gd name="T12" fmla="*/ 68 w 73"/>
                <a:gd name="T13" fmla="*/ 19 h 70"/>
                <a:gd name="T14" fmla="*/ 70 w 73"/>
                <a:gd name="T15" fmla="*/ 46 h 70"/>
                <a:gd name="T16" fmla="*/ 37 w 73"/>
                <a:gd name="T17" fmla="*/ 70 h 70"/>
                <a:gd name="T18" fmla="*/ 37 w 73"/>
                <a:gd name="T19" fmla="*/ 9 h 70"/>
                <a:gd name="T20" fmla="*/ 12 w 73"/>
                <a:gd name="T21" fmla="*/ 27 h 70"/>
                <a:gd name="T22" fmla="*/ 13 w 73"/>
                <a:gd name="T23" fmla="*/ 47 h 70"/>
                <a:gd name="T24" fmla="*/ 29 w 73"/>
                <a:gd name="T25" fmla="*/ 60 h 70"/>
                <a:gd name="T26" fmla="*/ 37 w 73"/>
                <a:gd name="T27" fmla="*/ 61 h 70"/>
                <a:gd name="T28" fmla="*/ 61 w 73"/>
                <a:gd name="T29" fmla="*/ 43 h 70"/>
                <a:gd name="T30" fmla="*/ 60 w 73"/>
                <a:gd name="T31" fmla="*/ 23 h 70"/>
                <a:gd name="T32" fmla="*/ 45 w 73"/>
                <a:gd name="T33" fmla="*/ 10 h 70"/>
                <a:gd name="T34" fmla="*/ 37 w 73"/>
                <a:gd name="T35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0">
                  <a:moveTo>
                    <a:pt x="37" y="70"/>
                  </a:moveTo>
                  <a:cubicBezTo>
                    <a:pt x="33" y="70"/>
                    <a:pt x="29" y="69"/>
                    <a:pt x="26" y="68"/>
                  </a:cubicBezTo>
                  <a:cubicBezTo>
                    <a:pt x="17" y="65"/>
                    <a:pt x="10" y="59"/>
                    <a:pt x="5" y="51"/>
                  </a:cubicBezTo>
                  <a:cubicBezTo>
                    <a:pt x="1" y="42"/>
                    <a:pt x="0" y="33"/>
                    <a:pt x="3" y="24"/>
                  </a:cubicBezTo>
                  <a:cubicBezTo>
                    <a:pt x="8" y="10"/>
                    <a:pt x="21" y="0"/>
                    <a:pt x="37" y="0"/>
                  </a:cubicBezTo>
                  <a:cubicBezTo>
                    <a:pt x="40" y="0"/>
                    <a:pt x="44" y="1"/>
                    <a:pt x="47" y="2"/>
                  </a:cubicBezTo>
                  <a:cubicBezTo>
                    <a:pt x="56" y="5"/>
                    <a:pt x="64" y="11"/>
                    <a:pt x="68" y="19"/>
                  </a:cubicBezTo>
                  <a:cubicBezTo>
                    <a:pt x="72" y="27"/>
                    <a:pt x="73" y="37"/>
                    <a:pt x="70" y="46"/>
                  </a:cubicBezTo>
                  <a:cubicBezTo>
                    <a:pt x="65" y="60"/>
                    <a:pt x="52" y="70"/>
                    <a:pt x="37" y="70"/>
                  </a:cubicBezTo>
                  <a:close/>
                  <a:moveTo>
                    <a:pt x="37" y="9"/>
                  </a:moveTo>
                  <a:cubicBezTo>
                    <a:pt x="25" y="9"/>
                    <a:pt x="15" y="16"/>
                    <a:pt x="12" y="27"/>
                  </a:cubicBezTo>
                  <a:cubicBezTo>
                    <a:pt x="10" y="33"/>
                    <a:pt x="10" y="41"/>
                    <a:pt x="13" y="47"/>
                  </a:cubicBezTo>
                  <a:cubicBezTo>
                    <a:pt x="17" y="53"/>
                    <a:pt x="22" y="57"/>
                    <a:pt x="29" y="60"/>
                  </a:cubicBezTo>
                  <a:cubicBezTo>
                    <a:pt x="31" y="60"/>
                    <a:pt x="34" y="61"/>
                    <a:pt x="37" y="61"/>
                  </a:cubicBezTo>
                  <a:cubicBezTo>
                    <a:pt x="48" y="61"/>
                    <a:pt x="58" y="54"/>
                    <a:pt x="61" y="43"/>
                  </a:cubicBezTo>
                  <a:cubicBezTo>
                    <a:pt x="63" y="36"/>
                    <a:pt x="63" y="29"/>
                    <a:pt x="60" y="23"/>
                  </a:cubicBezTo>
                  <a:cubicBezTo>
                    <a:pt x="57" y="17"/>
                    <a:pt x="51" y="12"/>
                    <a:pt x="45" y="10"/>
                  </a:cubicBezTo>
                  <a:cubicBezTo>
                    <a:pt x="42" y="9"/>
                    <a:pt x="39" y="9"/>
                    <a:pt x="37" y="9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33" name="Picture 36">
              <a:extLst>
                <a:ext uri="{FF2B5EF4-FFF2-40B4-BE49-F238E27FC236}">
                  <a16:creationId xmlns:a16="http://schemas.microsoft.com/office/drawing/2014/main" id="{993A7EAE-39D5-7709-1846-1126D72E56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7391" y="3080166"/>
              <a:ext cx="1047750" cy="388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37">
              <a:extLst>
                <a:ext uri="{FF2B5EF4-FFF2-40B4-BE49-F238E27FC236}">
                  <a16:creationId xmlns:a16="http://schemas.microsoft.com/office/drawing/2014/main" id="{16D4AAED-DE31-7A2C-EF27-95A3169DC0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9166" y="2775366"/>
              <a:ext cx="354013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8">
              <a:extLst>
                <a:ext uri="{FF2B5EF4-FFF2-40B4-BE49-F238E27FC236}">
                  <a16:creationId xmlns:a16="http://schemas.microsoft.com/office/drawing/2014/main" id="{1004FB07-E986-DB4F-6E2A-0F3D3A8C15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7391" y="3643729"/>
              <a:ext cx="896938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39">
              <a:extLst>
                <a:ext uri="{FF2B5EF4-FFF2-40B4-BE49-F238E27FC236}">
                  <a16:creationId xmlns:a16="http://schemas.microsoft.com/office/drawing/2014/main" id="{310F9379-D60F-0E45-3CB3-69B3EC320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9166" y="4050129"/>
              <a:ext cx="996950" cy="355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40">
              <a:extLst>
                <a:ext uri="{FF2B5EF4-FFF2-40B4-BE49-F238E27FC236}">
                  <a16:creationId xmlns:a16="http://schemas.microsoft.com/office/drawing/2014/main" id="{2074FB38-800D-162A-667C-DCC4AAAD0C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7391" y="4631154"/>
              <a:ext cx="963613" cy="101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41">
              <a:extLst>
                <a:ext uri="{FF2B5EF4-FFF2-40B4-BE49-F238E27FC236}">
                  <a16:creationId xmlns:a16="http://schemas.microsoft.com/office/drawing/2014/main" id="{E26CF947-E6C3-7B5C-F777-D1931C8C6A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0416" y="4631154"/>
              <a:ext cx="457200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Freeform 42">
              <a:extLst>
                <a:ext uri="{FF2B5EF4-FFF2-40B4-BE49-F238E27FC236}">
                  <a16:creationId xmlns:a16="http://schemas.microsoft.com/office/drawing/2014/main" id="{E77C0704-0F60-8A5C-D96F-0476D0FDB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791" y="2634079"/>
              <a:ext cx="1189038" cy="2692400"/>
            </a:xfrm>
            <a:custGeom>
              <a:avLst/>
              <a:gdLst>
                <a:gd name="T0" fmla="*/ 211 w 211"/>
                <a:gd name="T1" fmla="*/ 0 h 477"/>
                <a:gd name="T2" fmla="*/ 211 w 211"/>
                <a:gd name="T3" fmla="*/ 464 h 477"/>
                <a:gd name="T4" fmla="*/ 174 w 211"/>
                <a:gd name="T5" fmla="*/ 464 h 477"/>
                <a:gd name="T6" fmla="*/ 152 w 211"/>
                <a:gd name="T7" fmla="*/ 430 h 477"/>
                <a:gd name="T8" fmla="*/ 51 w 211"/>
                <a:gd name="T9" fmla="*/ 424 h 477"/>
                <a:gd name="T10" fmla="*/ 44 w 211"/>
                <a:gd name="T11" fmla="*/ 378 h 477"/>
                <a:gd name="T12" fmla="*/ 33 w 211"/>
                <a:gd name="T13" fmla="*/ 356 h 477"/>
                <a:gd name="T14" fmla="*/ 36 w 211"/>
                <a:gd name="T15" fmla="*/ 345 h 477"/>
                <a:gd name="T16" fmla="*/ 28 w 211"/>
                <a:gd name="T17" fmla="*/ 333 h 477"/>
                <a:gd name="T18" fmla="*/ 28 w 211"/>
                <a:gd name="T19" fmla="*/ 299 h 477"/>
                <a:gd name="T20" fmla="*/ 5 w 211"/>
                <a:gd name="T21" fmla="*/ 292 h 477"/>
                <a:gd name="T22" fmla="*/ 33 w 211"/>
                <a:gd name="T23" fmla="*/ 214 h 477"/>
                <a:gd name="T24" fmla="*/ 211 w 211"/>
                <a:gd name="T25" fmla="*/ 0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477">
                  <a:moveTo>
                    <a:pt x="211" y="0"/>
                  </a:moveTo>
                  <a:cubicBezTo>
                    <a:pt x="211" y="464"/>
                    <a:pt x="211" y="464"/>
                    <a:pt x="211" y="464"/>
                  </a:cubicBezTo>
                  <a:cubicBezTo>
                    <a:pt x="184" y="473"/>
                    <a:pt x="177" y="477"/>
                    <a:pt x="174" y="464"/>
                  </a:cubicBezTo>
                  <a:cubicBezTo>
                    <a:pt x="170" y="450"/>
                    <a:pt x="165" y="429"/>
                    <a:pt x="152" y="430"/>
                  </a:cubicBezTo>
                  <a:cubicBezTo>
                    <a:pt x="108" y="431"/>
                    <a:pt x="64" y="431"/>
                    <a:pt x="51" y="424"/>
                  </a:cubicBezTo>
                  <a:cubicBezTo>
                    <a:pt x="38" y="417"/>
                    <a:pt x="46" y="385"/>
                    <a:pt x="44" y="378"/>
                  </a:cubicBezTo>
                  <a:cubicBezTo>
                    <a:pt x="41" y="371"/>
                    <a:pt x="34" y="361"/>
                    <a:pt x="33" y="356"/>
                  </a:cubicBezTo>
                  <a:cubicBezTo>
                    <a:pt x="32" y="350"/>
                    <a:pt x="36" y="345"/>
                    <a:pt x="36" y="345"/>
                  </a:cubicBezTo>
                  <a:cubicBezTo>
                    <a:pt x="36" y="345"/>
                    <a:pt x="32" y="341"/>
                    <a:pt x="28" y="333"/>
                  </a:cubicBezTo>
                  <a:cubicBezTo>
                    <a:pt x="24" y="324"/>
                    <a:pt x="30" y="305"/>
                    <a:pt x="28" y="299"/>
                  </a:cubicBezTo>
                  <a:cubicBezTo>
                    <a:pt x="27" y="294"/>
                    <a:pt x="10" y="299"/>
                    <a:pt x="5" y="292"/>
                  </a:cubicBezTo>
                  <a:cubicBezTo>
                    <a:pt x="0" y="284"/>
                    <a:pt x="32" y="225"/>
                    <a:pt x="33" y="214"/>
                  </a:cubicBezTo>
                  <a:cubicBezTo>
                    <a:pt x="34" y="203"/>
                    <a:pt x="24" y="0"/>
                    <a:pt x="211" y="0"/>
                  </a:cubicBezTo>
                  <a:close/>
                </a:path>
              </a:pathLst>
            </a:custGeom>
            <a:solidFill>
              <a:srgbClr val="7F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43">
              <a:extLst>
                <a:ext uri="{FF2B5EF4-FFF2-40B4-BE49-F238E27FC236}">
                  <a16:creationId xmlns:a16="http://schemas.microsoft.com/office/drawing/2014/main" id="{74CB73A3-3299-3FC0-1C01-D189E65CB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3479" y="2711866"/>
              <a:ext cx="174625" cy="180975"/>
            </a:xfrm>
            <a:prstGeom prst="ellipse">
              <a:avLst/>
            </a:pr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F958170F-40DC-E2EF-ED95-DC1CA1D80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891" y="3531016"/>
              <a:ext cx="311150" cy="355600"/>
            </a:xfrm>
            <a:custGeom>
              <a:avLst/>
              <a:gdLst>
                <a:gd name="T0" fmla="*/ 23 w 55"/>
                <a:gd name="T1" fmla="*/ 4 h 63"/>
                <a:gd name="T2" fmla="*/ 12 w 55"/>
                <a:gd name="T3" fmla="*/ 47 h 63"/>
                <a:gd name="T4" fmla="*/ 55 w 55"/>
                <a:gd name="T5" fmla="*/ 29 h 63"/>
                <a:gd name="T6" fmla="*/ 23 w 55"/>
                <a:gd name="T7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63">
                  <a:moveTo>
                    <a:pt x="23" y="4"/>
                  </a:moveTo>
                  <a:cubicBezTo>
                    <a:pt x="4" y="10"/>
                    <a:pt x="0" y="33"/>
                    <a:pt x="12" y="47"/>
                  </a:cubicBezTo>
                  <a:cubicBezTo>
                    <a:pt x="27" y="63"/>
                    <a:pt x="55" y="50"/>
                    <a:pt x="55" y="29"/>
                  </a:cubicBezTo>
                  <a:cubicBezTo>
                    <a:pt x="55" y="12"/>
                    <a:pt x="39" y="0"/>
                    <a:pt x="23" y="4"/>
                  </a:cubicBez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61770332-774A-837D-9C39-11F29F5FA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9791" y="3977104"/>
              <a:ext cx="293688" cy="254000"/>
            </a:xfrm>
            <a:custGeom>
              <a:avLst/>
              <a:gdLst>
                <a:gd name="T0" fmla="*/ 39 w 52"/>
                <a:gd name="T1" fmla="*/ 8 h 45"/>
                <a:gd name="T2" fmla="*/ 13 w 52"/>
                <a:gd name="T3" fmla="*/ 5 h 45"/>
                <a:gd name="T4" fmla="*/ 3 w 52"/>
                <a:gd name="T5" fmla="*/ 29 h 45"/>
                <a:gd name="T6" fmla="*/ 5 w 52"/>
                <a:gd name="T7" fmla="*/ 32 h 45"/>
                <a:gd name="T8" fmla="*/ 20 w 52"/>
                <a:gd name="T9" fmla="*/ 44 h 45"/>
                <a:gd name="T10" fmla="*/ 24 w 52"/>
                <a:gd name="T11" fmla="*/ 44 h 45"/>
                <a:gd name="T12" fmla="*/ 39 w 52"/>
                <a:gd name="T1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5">
                  <a:moveTo>
                    <a:pt x="39" y="8"/>
                  </a:moveTo>
                  <a:cubicBezTo>
                    <a:pt x="32" y="1"/>
                    <a:pt x="21" y="0"/>
                    <a:pt x="13" y="5"/>
                  </a:cubicBezTo>
                  <a:cubicBezTo>
                    <a:pt x="5" y="9"/>
                    <a:pt x="0" y="20"/>
                    <a:pt x="3" y="29"/>
                  </a:cubicBezTo>
                  <a:cubicBezTo>
                    <a:pt x="4" y="30"/>
                    <a:pt x="4" y="31"/>
                    <a:pt x="5" y="32"/>
                  </a:cubicBezTo>
                  <a:cubicBezTo>
                    <a:pt x="7" y="39"/>
                    <a:pt x="13" y="45"/>
                    <a:pt x="20" y="44"/>
                  </a:cubicBezTo>
                  <a:cubicBezTo>
                    <a:pt x="22" y="44"/>
                    <a:pt x="23" y="44"/>
                    <a:pt x="24" y="44"/>
                  </a:cubicBezTo>
                  <a:cubicBezTo>
                    <a:pt x="42" y="44"/>
                    <a:pt x="52" y="21"/>
                    <a:pt x="39" y="8"/>
                  </a:cubicBezTo>
                  <a:close/>
                </a:path>
              </a:pathLst>
            </a:cu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46">
              <a:extLst>
                <a:ext uri="{FF2B5EF4-FFF2-40B4-BE49-F238E27FC236}">
                  <a16:creationId xmlns:a16="http://schemas.microsoft.com/office/drawing/2014/main" id="{B54BB507-AFF8-D43F-60F6-305556804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3841" y="4569241"/>
              <a:ext cx="230188" cy="231775"/>
            </a:xfrm>
            <a:prstGeom prst="ellipse">
              <a:avLst/>
            </a:prstGeom>
            <a:solidFill>
              <a:srgbClr val="96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7">
              <a:extLst>
                <a:ext uri="{FF2B5EF4-FFF2-40B4-BE49-F238E27FC236}">
                  <a16:creationId xmlns:a16="http://schemas.microsoft.com/office/drawing/2014/main" id="{0F67EF5A-DD9D-AD48-C063-9F94298C1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6641" y="3316704"/>
              <a:ext cx="236538" cy="207963"/>
            </a:xfrm>
            <a:custGeom>
              <a:avLst/>
              <a:gdLst>
                <a:gd name="T0" fmla="*/ 21 w 42"/>
                <a:gd name="T1" fmla="*/ 0 h 37"/>
                <a:gd name="T2" fmla="*/ 3 w 42"/>
                <a:gd name="T3" fmla="*/ 23 h 37"/>
                <a:gd name="T4" fmla="*/ 3 w 42"/>
                <a:gd name="T5" fmla="*/ 24 h 37"/>
                <a:gd name="T6" fmla="*/ 21 w 42"/>
                <a:gd name="T7" fmla="*/ 37 h 37"/>
                <a:gd name="T8" fmla="*/ 38 w 42"/>
                <a:gd name="T9" fmla="*/ 24 h 37"/>
                <a:gd name="T10" fmla="*/ 38 w 42"/>
                <a:gd name="T11" fmla="*/ 23 h 37"/>
                <a:gd name="T12" fmla="*/ 21 w 42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37">
                  <a:moveTo>
                    <a:pt x="21" y="0"/>
                  </a:moveTo>
                  <a:cubicBezTo>
                    <a:pt x="9" y="0"/>
                    <a:pt x="0" y="12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6" y="32"/>
                    <a:pt x="13" y="37"/>
                    <a:pt x="21" y="37"/>
                  </a:cubicBezTo>
                  <a:cubicBezTo>
                    <a:pt x="29" y="37"/>
                    <a:pt x="36" y="32"/>
                    <a:pt x="38" y="24"/>
                  </a:cubicBezTo>
                  <a:cubicBezTo>
                    <a:pt x="38" y="24"/>
                    <a:pt x="38" y="24"/>
                    <a:pt x="38" y="23"/>
                  </a:cubicBezTo>
                  <a:cubicBezTo>
                    <a:pt x="42" y="12"/>
                    <a:pt x="32" y="0"/>
                    <a:pt x="21" y="0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8">
              <a:extLst>
                <a:ext uri="{FF2B5EF4-FFF2-40B4-BE49-F238E27FC236}">
                  <a16:creationId xmlns:a16="http://schemas.microsoft.com/office/drawing/2014/main" id="{7B553A74-ABEE-9469-BC30-8857DC747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441" y="3051591"/>
              <a:ext cx="190500" cy="192088"/>
            </a:xfrm>
            <a:custGeom>
              <a:avLst/>
              <a:gdLst>
                <a:gd name="T0" fmla="*/ 32 w 34"/>
                <a:gd name="T1" fmla="*/ 13 h 34"/>
                <a:gd name="T2" fmla="*/ 32 w 34"/>
                <a:gd name="T3" fmla="*/ 12 h 34"/>
                <a:gd name="T4" fmla="*/ 11 w 34"/>
                <a:gd name="T5" fmla="*/ 3 h 34"/>
                <a:gd name="T6" fmla="*/ 9 w 34"/>
                <a:gd name="T7" fmla="*/ 4 h 34"/>
                <a:gd name="T8" fmla="*/ 2 w 34"/>
                <a:gd name="T9" fmla="*/ 22 h 34"/>
                <a:gd name="T10" fmla="*/ 4 w 34"/>
                <a:gd name="T11" fmla="*/ 27 h 34"/>
                <a:gd name="T12" fmla="*/ 19 w 34"/>
                <a:gd name="T13" fmla="*/ 33 h 34"/>
                <a:gd name="T14" fmla="*/ 21 w 34"/>
                <a:gd name="T15" fmla="*/ 33 h 34"/>
                <a:gd name="T16" fmla="*/ 32 w 34"/>
                <a:gd name="T1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4">
                  <a:moveTo>
                    <a:pt x="32" y="13"/>
                  </a:moveTo>
                  <a:cubicBezTo>
                    <a:pt x="32" y="13"/>
                    <a:pt x="32" y="13"/>
                    <a:pt x="32" y="12"/>
                  </a:cubicBezTo>
                  <a:cubicBezTo>
                    <a:pt x="30" y="2"/>
                    <a:pt x="19" y="0"/>
                    <a:pt x="11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" y="7"/>
                    <a:pt x="0" y="15"/>
                    <a:pt x="2" y="22"/>
                  </a:cubicBezTo>
                  <a:cubicBezTo>
                    <a:pt x="3" y="24"/>
                    <a:pt x="3" y="25"/>
                    <a:pt x="4" y="27"/>
                  </a:cubicBezTo>
                  <a:cubicBezTo>
                    <a:pt x="7" y="33"/>
                    <a:pt x="14" y="34"/>
                    <a:pt x="19" y="33"/>
                  </a:cubicBezTo>
                  <a:cubicBezTo>
                    <a:pt x="20" y="33"/>
                    <a:pt x="21" y="33"/>
                    <a:pt x="21" y="33"/>
                  </a:cubicBezTo>
                  <a:cubicBezTo>
                    <a:pt x="30" y="30"/>
                    <a:pt x="34" y="22"/>
                    <a:pt x="32" y="13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10C65E7-1E53-C5D1-CDCC-E230FBA09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7841" y="4248566"/>
              <a:ext cx="223838" cy="225425"/>
            </a:xfrm>
            <a:prstGeom prst="ellipse">
              <a:avLst/>
            </a:pr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0">
              <a:extLst>
                <a:ext uri="{FF2B5EF4-FFF2-40B4-BE49-F238E27FC236}">
                  <a16:creationId xmlns:a16="http://schemas.microsoft.com/office/drawing/2014/main" id="{AE5C81FC-8071-DA71-456E-3A1ACA196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879" y="4880391"/>
              <a:ext cx="292100" cy="225425"/>
            </a:xfrm>
            <a:custGeom>
              <a:avLst/>
              <a:gdLst>
                <a:gd name="T0" fmla="*/ 26 w 52"/>
                <a:gd name="T1" fmla="*/ 0 h 40"/>
                <a:gd name="T2" fmla="*/ 26 w 52"/>
                <a:gd name="T3" fmla="*/ 40 h 40"/>
                <a:gd name="T4" fmla="*/ 26 w 52"/>
                <a:gd name="T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" h="40">
                  <a:moveTo>
                    <a:pt x="26" y="0"/>
                  </a:moveTo>
                  <a:cubicBezTo>
                    <a:pt x="0" y="0"/>
                    <a:pt x="0" y="40"/>
                    <a:pt x="26" y="40"/>
                  </a:cubicBezTo>
                  <a:cubicBezTo>
                    <a:pt x="52" y="40"/>
                    <a:pt x="52" y="0"/>
                    <a:pt x="26" y="0"/>
                  </a:cubicBezTo>
                  <a:close/>
                </a:path>
              </a:pathLst>
            </a:custGeom>
            <a:solidFill>
              <a:srgbClr val="696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38501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touching a glass window&#10;&#10;Description automatically generated">
            <a:extLst>
              <a:ext uri="{FF2B5EF4-FFF2-40B4-BE49-F238E27FC236}">
                <a16:creationId xmlns:a16="http://schemas.microsoft.com/office/drawing/2014/main" id="{83CC4D04-0C53-FFCA-4403-EF69BA5231E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t="7795" b="7795"/>
          <a:stretch>
            <a:fillRect/>
          </a:stretch>
        </p:blipFill>
        <p:spPr>
          <a:xfrm flipH="1">
            <a:off x="0" y="0"/>
            <a:ext cx="12192000" cy="6858000"/>
          </a:xfr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8505A3F-3797-EB97-C54A-6A78BA22D8A8}"/>
              </a:ext>
            </a:extLst>
          </p:cNvPr>
          <p:cNvSpPr/>
          <p:nvPr/>
        </p:nvSpPr>
        <p:spPr bwMode="gray">
          <a:xfrm flipV="1">
            <a:off x="0" y="0"/>
            <a:ext cx="12192000" cy="34290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0E20DD-1815-10B4-831B-A65A3A8081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MX" b="1" dirty="0">
                <a:solidFill>
                  <a:schemeClr val="bg1"/>
                </a:solidFill>
              </a:rPr>
              <a:t>Casos de uso de inteligencia artificial en la auditorí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47911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BBCCD-C6E4-CC5E-E8D2-C51DF1654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sos de uso de inteligencia artificial en la auditoría</a:t>
            </a:r>
            <a:br>
              <a:rPr lang="es-MX" dirty="0"/>
            </a:br>
            <a:endParaRPr lang="en-US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830F63-C3A1-0AC1-FF96-32FA13A1BBB2}"/>
              </a:ext>
            </a:extLst>
          </p:cNvPr>
          <p:cNvGrpSpPr/>
          <p:nvPr/>
        </p:nvGrpSpPr>
        <p:grpSpPr>
          <a:xfrm>
            <a:off x="2901064" y="1419225"/>
            <a:ext cx="6707830" cy="4916984"/>
            <a:chOff x="2901064" y="1419225"/>
            <a:chExt cx="6707830" cy="4916984"/>
          </a:xfrm>
        </p:grpSpPr>
        <p:pic>
          <p:nvPicPr>
            <p:cNvPr id="4" name="Picture 14">
              <a:extLst>
                <a:ext uri="{FF2B5EF4-FFF2-40B4-BE49-F238E27FC236}">
                  <a16:creationId xmlns:a16="http://schemas.microsoft.com/office/drawing/2014/main" id="{D53539F1-1931-6E16-5EEF-3604EE122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00644" y="1575032"/>
              <a:ext cx="6286134" cy="4761177"/>
            </a:xfrm>
            <a:prstGeom prst="rect">
              <a:avLst/>
            </a:prstGeom>
          </p:spPr>
        </p:pic>
        <p:sp>
          <p:nvSpPr>
            <p:cNvPr id="5" name="Oval 121">
              <a:extLst>
                <a:ext uri="{FF2B5EF4-FFF2-40B4-BE49-F238E27FC236}">
                  <a16:creationId xmlns:a16="http://schemas.microsoft.com/office/drawing/2014/main" id="{97B0C719-C268-0084-B064-B4C72594FD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71866" y="2041372"/>
              <a:ext cx="2252861" cy="2252863"/>
            </a:xfrm>
            <a:prstGeom prst="ellipse">
              <a:avLst/>
            </a:prstGeom>
            <a:solidFill>
              <a:schemeClr val="accent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" name="Oval 122">
              <a:extLst>
                <a:ext uri="{FF2B5EF4-FFF2-40B4-BE49-F238E27FC236}">
                  <a16:creationId xmlns:a16="http://schemas.microsoft.com/office/drawing/2014/main" id="{2D626044-30FE-823A-EA5D-B1776D78E8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51237" y="3306559"/>
              <a:ext cx="2144388" cy="2144390"/>
            </a:xfrm>
            <a:prstGeom prst="ellipse">
              <a:avLst/>
            </a:prstGeom>
            <a:solidFill>
              <a:srgbClr val="C4D6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" name="Oval 123">
              <a:extLst>
                <a:ext uri="{FF2B5EF4-FFF2-40B4-BE49-F238E27FC236}">
                  <a16:creationId xmlns:a16="http://schemas.microsoft.com/office/drawing/2014/main" id="{55FE8909-7B78-1653-9710-F4DB2ACD2D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69870" y="3267427"/>
              <a:ext cx="2190134" cy="2190136"/>
            </a:xfrm>
            <a:prstGeom prst="ellipse">
              <a:avLst/>
            </a:prstGeom>
            <a:solidFill>
              <a:srgbClr val="86BC2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object 59">
              <a:extLst>
                <a:ext uri="{FF2B5EF4-FFF2-40B4-BE49-F238E27FC236}">
                  <a16:creationId xmlns:a16="http://schemas.microsoft.com/office/drawing/2014/main" id="{25415DEB-1F2F-1D5E-CF2F-64AB0C8E77DE}"/>
                </a:ext>
              </a:extLst>
            </p:cNvPr>
            <p:cNvSpPr txBox="1"/>
            <p:nvPr/>
          </p:nvSpPr>
          <p:spPr>
            <a:xfrm>
              <a:off x="4367553" y="4100648"/>
              <a:ext cx="1498869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Identificación de tendencias y patrones en estados financieros</a:t>
              </a:r>
            </a:p>
          </p:txBody>
        </p:sp>
        <p:sp>
          <p:nvSpPr>
            <p:cNvPr id="10" name="Oval 126">
              <a:extLst>
                <a:ext uri="{FF2B5EF4-FFF2-40B4-BE49-F238E27FC236}">
                  <a16:creationId xmlns:a16="http://schemas.microsoft.com/office/drawing/2014/main" id="{FDF64F74-9CC4-B088-4D81-ABF7BDA03505}"/>
                </a:ext>
              </a:extLst>
            </p:cNvPr>
            <p:cNvSpPr/>
            <p:nvPr/>
          </p:nvSpPr>
          <p:spPr>
            <a:xfrm>
              <a:off x="4909126" y="3173474"/>
              <a:ext cx="2175664" cy="217566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B01516D8-1638-BF62-A444-055323798C13}"/>
                </a:ext>
              </a:extLst>
            </p:cNvPr>
            <p:cNvSpPr txBox="1"/>
            <p:nvPr/>
          </p:nvSpPr>
          <p:spPr>
            <a:xfrm>
              <a:off x="4254095" y="2911046"/>
              <a:ext cx="585007" cy="1468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5080" lvl="0" indent="0" algn="ctr" defTabSz="914400" rtl="0" eaLnBrk="1" fontAlgn="auto" latinLnBrk="0" hangingPunct="1">
                <a:lnSpc>
                  <a:spcPct val="1036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Human</a:t>
              </a: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object 13">
              <a:extLst>
                <a:ext uri="{FF2B5EF4-FFF2-40B4-BE49-F238E27FC236}">
                  <a16:creationId xmlns:a16="http://schemas.microsoft.com/office/drawing/2014/main" id="{B558A5B8-FCC6-3D82-056E-E0515D39773D}"/>
                </a:ext>
              </a:extLst>
            </p:cNvPr>
            <p:cNvSpPr txBox="1"/>
            <p:nvPr/>
          </p:nvSpPr>
          <p:spPr>
            <a:xfrm>
              <a:off x="6669785" y="4065122"/>
              <a:ext cx="155231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lvl="0" defTabSz="914400">
                <a:defRPr/>
              </a:pPr>
              <a:r>
                <a:rPr lang="es-MX" altLang="zh-CN" sz="12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nálisis de grandes volúmenes de datos financieros</a:t>
              </a:r>
            </a:p>
          </p:txBody>
        </p:sp>
        <p:sp>
          <p:nvSpPr>
            <p:cNvPr id="13" name="object 11">
              <a:extLst>
                <a:ext uri="{FF2B5EF4-FFF2-40B4-BE49-F238E27FC236}">
                  <a16:creationId xmlns:a16="http://schemas.microsoft.com/office/drawing/2014/main" id="{4D1F49B6-EAD6-9746-7FD5-ED79AE43F67A}"/>
                </a:ext>
              </a:extLst>
            </p:cNvPr>
            <p:cNvSpPr txBox="1"/>
            <p:nvPr/>
          </p:nvSpPr>
          <p:spPr>
            <a:xfrm>
              <a:off x="7567161" y="2950167"/>
              <a:ext cx="585007" cy="1468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5080" lvl="0" indent="0" algn="ctr" defTabSz="914400" rtl="0" eaLnBrk="1" fontAlgn="auto" latinLnBrk="0" hangingPunct="1">
                <a:lnSpc>
                  <a:spcPct val="1036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Business</a:t>
              </a: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5F410E20-72FD-47FD-DD61-E5EAC64385EC}"/>
                </a:ext>
              </a:extLst>
            </p:cNvPr>
            <p:cNvSpPr txBox="1"/>
            <p:nvPr/>
          </p:nvSpPr>
          <p:spPr>
            <a:xfrm>
              <a:off x="6920948" y="6120655"/>
              <a:ext cx="807559" cy="1468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5080" lvl="0" indent="0" algn="ctr" defTabSz="914400" rtl="0" eaLnBrk="1" fontAlgn="auto" latinLnBrk="0" hangingPunct="1">
                <a:lnSpc>
                  <a:spcPct val="1036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-1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Tech</a:t>
              </a:r>
              <a:endPara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object 11">
              <a:extLst>
                <a:ext uri="{FF2B5EF4-FFF2-40B4-BE49-F238E27FC236}">
                  <a16:creationId xmlns:a16="http://schemas.microsoft.com/office/drawing/2014/main" id="{FED932A9-770E-289B-DBAD-EFEC6176A074}"/>
                </a:ext>
              </a:extLst>
            </p:cNvPr>
            <p:cNvSpPr txBox="1"/>
            <p:nvPr/>
          </p:nvSpPr>
          <p:spPr>
            <a:xfrm>
              <a:off x="5619839" y="2627832"/>
              <a:ext cx="1385594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lvl="0" defTabSz="914400">
                <a:defRPr/>
              </a:pPr>
              <a:r>
                <a:rPr lang="es-MX" altLang="zh-CN" sz="12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etección de fraudes </a:t>
              </a:r>
              <a:br>
                <a:rPr lang="es-MX" altLang="zh-CN" sz="12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s-MX" altLang="zh-CN" sz="12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y transacciones sospechosas </a:t>
              </a:r>
            </a:p>
          </p:txBody>
        </p:sp>
        <p:grpSp>
          <p:nvGrpSpPr>
            <p:cNvPr id="17" name="Group 192">
              <a:extLst>
                <a:ext uri="{FF2B5EF4-FFF2-40B4-BE49-F238E27FC236}">
                  <a16:creationId xmlns:a16="http://schemas.microsoft.com/office/drawing/2014/main" id="{858CEBE7-94FF-83CC-3A75-5B9360795A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62227" y="2597966"/>
              <a:ext cx="342426" cy="342426"/>
              <a:chOff x="378" y="713"/>
              <a:chExt cx="340" cy="340"/>
            </a:xfrm>
            <a:solidFill>
              <a:schemeClr val="accent5"/>
            </a:solidFill>
          </p:grpSpPr>
          <p:sp>
            <p:nvSpPr>
              <p:cNvPr id="26" name="Freeform 193">
                <a:extLst>
                  <a:ext uri="{FF2B5EF4-FFF2-40B4-BE49-F238E27FC236}">
                    <a16:creationId xmlns:a16="http://schemas.microsoft.com/office/drawing/2014/main" id="{B3B7BB16-2AC8-B104-8F39-E13E27282E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" y="713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  <p:sp>
            <p:nvSpPr>
              <p:cNvPr id="27" name="Freeform 194">
                <a:extLst>
                  <a:ext uri="{FF2B5EF4-FFF2-40B4-BE49-F238E27FC236}">
                    <a16:creationId xmlns:a16="http://schemas.microsoft.com/office/drawing/2014/main" id="{5E091348-506A-CC7E-5E4C-1D9BB31D66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" y="812"/>
                <a:ext cx="212" cy="157"/>
              </a:xfrm>
              <a:custGeom>
                <a:avLst/>
                <a:gdLst>
                  <a:gd name="T0" fmla="*/ 309 w 320"/>
                  <a:gd name="T1" fmla="*/ 21 h 236"/>
                  <a:gd name="T2" fmla="*/ 309 w 320"/>
                  <a:gd name="T3" fmla="*/ 0 h 236"/>
                  <a:gd name="T4" fmla="*/ 288 w 320"/>
                  <a:gd name="T5" fmla="*/ 11 h 236"/>
                  <a:gd name="T6" fmla="*/ 247 w 320"/>
                  <a:gd name="T7" fmla="*/ 32 h 236"/>
                  <a:gd name="T8" fmla="*/ 165 w 320"/>
                  <a:gd name="T9" fmla="*/ 12 h 236"/>
                  <a:gd name="T10" fmla="*/ 128 w 320"/>
                  <a:gd name="T11" fmla="*/ 32 h 236"/>
                  <a:gd name="T12" fmla="*/ 32 w 320"/>
                  <a:gd name="T13" fmla="*/ 11 h 236"/>
                  <a:gd name="T14" fmla="*/ 10 w 320"/>
                  <a:gd name="T15" fmla="*/ 0 h 236"/>
                  <a:gd name="T16" fmla="*/ 10 w 320"/>
                  <a:gd name="T17" fmla="*/ 21 h 236"/>
                  <a:gd name="T18" fmla="*/ 0 w 320"/>
                  <a:gd name="T19" fmla="*/ 181 h 236"/>
                  <a:gd name="T20" fmla="*/ 21 w 320"/>
                  <a:gd name="T21" fmla="*/ 192 h 236"/>
                  <a:gd name="T22" fmla="*/ 32 w 320"/>
                  <a:gd name="T23" fmla="*/ 171 h 236"/>
                  <a:gd name="T24" fmla="*/ 76 w 320"/>
                  <a:gd name="T25" fmla="*/ 219 h 236"/>
                  <a:gd name="T26" fmla="*/ 121 w 320"/>
                  <a:gd name="T27" fmla="*/ 232 h 236"/>
                  <a:gd name="T28" fmla="*/ 154 w 320"/>
                  <a:gd name="T29" fmla="*/ 235 h 236"/>
                  <a:gd name="T30" fmla="*/ 181 w 320"/>
                  <a:gd name="T31" fmla="*/ 221 h 236"/>
                  <a:gd name="T32" fmla="*/ 222 w 320"/>
                  <a:gd name="T33" fmla="*/ 227 h 236"/>
                  <a:gd name="T34" fmla="*/ 242 w 320"/>
                  <a:gd name="T35" fmla="*/ 210 h 236"/>
                  <a:gd name="T36" fmla="*/ 275 w 320"/>
                  <a:gd name="T37" fmla="*/ 185 h 236"/>
                  <a:gd name="T38" fmla="*/ 288 w 320"/>
                  <a:gd name="T39" fmla="*/ 171 h 236"/>
                  <a:gd name="T40" fmla="*/ 298 w 320"/>
                  <a:gd name="T41" fmla="*/ 192 h 236"/>
                  <a:gd name="T42" fmla="*/ 320 w 320"/>
                  <a:gd name="T43" fmla="*/ 181 h 236"/>
                  <a:gd name="T44" fmla="*/ 254 w 320"/>
                  <a:gd name="T45" fmla="*/ 179 h 236"/>
                  <a:gd name="T46" fmla="*/ 239 w 320"/>
                  <a:gd name="T47" fmla="*/ 188 h 236"/>
                  <a:gd name="T48" fmla="*/ 232 w 320"/>
                  <a:gd name="T49" fmla="*/ 183 h 236"/>
                  <a:gd name="T50" fmla="*/ 198 w 320"/>
                  <a:gd name="T51" fmla="*/ 125 h 236"/>
                  <a:gd name="T52" fmla="*/ 179 w 320"/>
                  <a:gd name="T53" fmla="*/ 135 h 236"/>
                  <a:gd name="T54" fmla="*/ 214 w 320"/>
                  <a:gd name="T55" fmla="*/ 194 h 236"/>
                  <a:gd name="T56" fmla="*/ 194 w 320"/>
                  <a:gd name="T57" fmla="*/ 204 h 236"/>
                  <a:gd name="T58" fmla="*/ 147 w 320"/>
                  <a:gd name="T59" fmla="*/ 147 h 236"/>
                  <a:gd name="T60" fmla="*/ 164 w 320"/>
                  <a:gd name="T61" fmla="*/ 196 h 236"/>
                  <a:gd name="T62" fmla="*/ 160 w 320"/>
                  <a:gd name="T63" fmla="*/ 212 h 236"/>
                  <a:gd name="T64" fmla="*/ 143 w 320"/>
                  <a:gd name="T65" fmla="*/ 208 h 236"/>
                  <a:gd name="T66" fmla="*/ 132 w 320"/>
                  <a:gd name="T67" fmla="*/ 188 h 236"/>
                  <a:gd name="T68" fmla="*/ 124 w 320"/>
                  <a:gd name="T69" fmla="*/ 176 h 236"/>
                  <a:gd name="T70" fmla="*/ 106 w 320"/>
                  <a:gd name="T71" fmla="*/ 188 h 236"/>
                  <a:gd name="T72" fmla="*/ 111 w 320"/>
                  <a:gd name="T73" fmla="*/ 214 h 236"/>
                  <a:gd name="T74" fmla="*/ 62 w 320"/>
                  <a:gd name="T75" fmla="*/ 155 h 236"/>
                  <a:gd name="T76" fmla="*/ 32 w 320"/>
                  <a:gd name="T77" fmla="*/ 149 h 236"/>
                  <a:gd name="T78" fmla="*/ 88 w 320"/>
                  <a:gd name="T79" fmla="*/ 53 h 236"/>
                  <a:gd name="T80" fmla="*/ 64 w 320"/>
                  <a:gd name="T81" fmla="*/ 85 h 236"/>
                  <a:gd name="T82" fmla="*/ 97 w 320"/>
                  <a:gd name="T83" fmla="*/ 117 h 236"/>
                  <a:gd name="T84" fmla="*/ 253 w 320"/>
                  <a:gd name="T85" fmla="*/ 170 h 236"/>
                  <a:gd name="T86" fmla="*/ 288 w 320"/>
                  <a:gd name="T87" fmla="*/ 149 h 236"/>
                  <a:gd name="T88" fmla="*/ 265 w 320"/>
                  <a:gd name="T89" fmla="*/ 150 h 236"/>
                  <a:gd name="T90" fmla="*/ 215 w 320"/>
                  <a:gd name="T91" fmla="*/ 76 h 236"/>
                  <a:gd name="T92" fmla="*/ 88 w 320"/>
                  <a:gd name="T93" fmla="*/ 95 h 236"/>
                  <a:gd name="T94" fmla="*/ 90 w 320"/>
                  <a:gd name="T95" fmla="*/ 77 h 236"/>
                  <a:gd name="T96" fmla="*/ 242 w 320"/>
                  <a:gd name="T97" fmla="*/ 53 h 236"/>
                  <a:gd name="T98" fmla="*/ 288 w 320"/>
                  <a:gd name="T99" fmla="*/ 53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0" h="236">
                    <a:moveTo>
                      <a:pt x="309" y="171"/>
                    </a:moveTo>
                    <a:cubicBezTo>
                      <a:pt x="309" y="21"/>
                      <a:pt x="309" y="21"/>
                      <a:pt x="309" y="21"/>
                    </a:cubicBezTo>
                    <a:cubicBezTo>
                      <a:pt x="315" y="21"/>
                      <a:pt x="320" y="17"/>
                      <a:pt x="320" y="11"/>
                    </a:cubicBezTo>
                    <a:cubicBezTo>
                      <a:pt x="320" y="5"/>
                      <a:pt x="315" y="0"/>
                      <a:pt x="309" y="0"/>
                    </a:cubicBezTo>
                    <a:cubicBezTo>
                      <a:pt x="298" y="0"/>
                      <a:pt x="298" y="0"/>
                      <a:pt x="298" y="0"/>
                    </a:cubicBezTo>
                    <a:cubicBezTo>
                      <a:pt x="292" y="0"/>
                      <a:pt x="288" y="5"/>
                      <a:pt x="288" y="11"/>
                    </a:cubicBezTo>
                    <a:cubicBezTo>
                      <a:pt x="288" y="32"/>
                      <a:pt x="288" y="32"/>
                      <a:pt x="288" y="32"/>
                    </a:cubicBezTo>
                    <a:cubicBezTo>
                      <a:pt x="247" y="32"/>
                      <a:pt x="247" y="32"/>
                      <a:pt x="247" y="32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1" y="10"/>
                      <a:pt x="168" y="11"/>
                      <a:pt x="165" y="1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5"/>
                      <a:pt x="27" y="0"/>
                      <a:pt x="2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0" y="171"/>
                      <a:pt x="10" y="171"/>
                      <a:pt x="10" y="171"/>
                    </a:cubicBezTo>
                    <a:cubicBezTo>
                      <a:pt x="4" y="171"/>
                      <a:pt x="0" y="175"/>
                      <a:pt x="0" y="181"/>
                    </a:cubicBezTo>
                    <a:cubicBezTo>
                      <a:pt x="0" y="187"/>
                      <a:pt x="4" y="192"/>
                      <a:pt x="10" y="192"/>
                    </a:cubicBezTo>
                    <a:cubicBezTo>
                      <a:pt x="21" y="192"/>
                      <a:pt x="21" y="192"/>
                      <a:pt x="21" y="192"/>
                    </a:cubicBezTo>
                    <a:cubicBezTo>
                      <a:pt x="27" y="192"/>
                      <a:pt x="32" y="187"/>
                      <a:pt x="32" y="181"/>
                    </a:cubicBezTo>
                    <a:cubicBezTo>
                      <a:pt x="32" y="171"/>
                      <a:pt x="32" y="171"/>
                      <a:pt x="32" y="171"/>
                    </a:cubicBezTo>
                    <a:cubicBezTo>
                      <a:pt x="47" y="171"/>
                      <a:pt x="47" y="171"/>
                      <a:pt x="47" y="171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82" y="230"/>
                      <a:pt x="94" y="236"/>
                      <a:pt x="106" y="236"/>
                    </a:cubicBezTo>
                    <a:cubicBezTo>
                      <a:pt x="111" y="236"/>
                      <a:pt x="116" y="235"/>
                      <a:pt x="121" y="232"/>
                    </a:cubicBezTo>
                    <a:cubicBezTo>
                      <a:pt x="125" y="230"/>
                      <a:pt x="128" y="227"/>
                      <a:pt x="130" y="225"/>
                    </a:cubicBezTo>
                    <a:cubicBezTo>
                      <a:pt x="136" y="231"/>
                      <a:pt x="145" y="235"/>
                      <a:pt x="154" y="235"/>
                    </a:cubicBezTo>
                    <a:cubicBezTo>
                      <a:pt x="160" y="235"/>
                      <a:pt x="165" y="233"/>
                      <a:pt x="171" y="230"/>
                    </a:cubicBezTo>
                    <a:cubicBezTo>
                      <a:pt x="175" y="228"/>
                      <a:pt x="178" y="225"/>
                      <a:pt x="181" y="221"/>
                    </a:cubicBezTo>
                    <a:cubicBezTo>
                      <a:pt x="187" y="228"/>
                      <a:pt x="196" y="232"/>
                      <a:pt x="205" y="232"/>
                    </a:cubicBezTo>
                    <a:cubicBezTo>
                      <a:pt x="211" y="232"/>
                      <a:pt x="217" y="231"/>
                      <a:pt x="222" y="227"/>
                    </a:cubicBezTo>
                    <a:cubicBezTo>
                      <a:pt x="229" y="223"/>
                      <a:pt x="234" y="216"/>
                      <a:pt x="236" y="209"/>
                    </a:cubicBezTo>
                    <a:cubicBezTo>
                      <a:pt x="238" y="209"/>
                      <a:pt x="240" y="210"/>
                      <a:pt x="242" y="210"/>
                    </a:cubicBezTo>
                    <a:cubicBezTo>
                      <a:pt x="248" y="210"/>
                      <a:pt x="254" y="208"/>
                      <a:pt x="259" y="205"/>
                    </a:cubicBezTo>
                    <a:cubicBezTo>
                      <a:pt x="267" y="201"/>
                      <a:pt x="272" y="193"/>
                      <a:pt x="275" y="185"/>
                    </a:cubicBezTo>
                    <a:cubicBezTo>
                      <a:pt x="276" y="180"/>
                      <a:pt x="276" y="175"/>
                      <a:pt x="275" y="171"/>
                    </a:cubicBezTo>
                    <a:cubicBezTo>
                      <a:pt x="288" y="171"/>
                      <a:pt x="288" y="171"/>
                      <a:pt x="288" y="171"/>
                    </a:cubicBezTo>
                    <a:cubicBezTo>
                      <a:pt x="288" y="181"/>
                      <a:pt x="288" y="181"/>
                      <a:pt x="288" y="181"/>
                    </a:cubicBezTo>
                    <a:cubicBezTo>
                      <a:pt x="288" y="187"/>
                      <a:pt x="292" y="192"/>
                      <a:pt x="298" y="192"/>
                    </a:cubicBezTo>
                    <a:cubicBezTo>
                      <a:pt x="309" y="192"/>
                      <a:pt x="309" y="192"/>
                      <a:pt x="309" y="192"/>
                    </a:cubicBezTo>
                    <a:cubicBezTo>
                      <a:pt x="315" y="192"/>
                      <a:pt x="320" y="187"/>
                      <a:pt x="320" y="181"/>
                    </a:cubicBezTo>
                    <a:cubicBezTo>
                      <a:pt x="320" y="175"/>
                      <a:pt x="315" y="171"/>
                      <a:pt x="309" y="171"/>
                    </a:cubicBezTo>
                    <a:close/>
                    <a:moveTo>
                      <a:pt x="254" y="179"/>
                    </a:moveTo>
                    <a:cubicBezTo>
                      <a:pt x="253" y="183"/>
                      <a:pt x="251" y="185"/>
                      <a:pt x="248" y="187"/>
                    </a:cubicBezTo>
                    <a:cubicBezTo>
                      <a:pt x="246" y="188"/>
                      <a:pt x="242" y="189"/>
                      <a:pt x="239" y="188"/>
                    </a:cubicBezTo>
                    <a:cubicBezTo>
                      <a:pt x="236" y="187"/>
                      <a:pt x="234" y="185"/>
                      <a:pt x="232" y="183"/>
                    </a:cubicBezTo>
                    <a:cubicBezTo>
                      <a:pt x="232" y="183"/>
                      <a:pt x="232" y="183"/>
                      <a:pt x="232" y="183"/>
                    </a:cubicBezTo>
                    <a:cubicBezTo>
                      <a:pt x="232" y="183"/>
                      <a:pt x="232" y="183"/>
                      <a:pt x="232" y="182"/>
                    </a:cubicBezTo>
                    <a:cubicBezTo>
                      <a:pt x="198" y="125"/>
                      <a:pt x="198" y="125"/>
                      <a:pt x="198" y="125"/>
                    </a:cubicBezTo>
                    <a:cubicBezTo>
                      <a:pt x="195" y="119"/>
                      <a:pt x="188" y="118"/>
                      <a:pt x="183" y="121"/>
                    </a:cubicBezTo>
                    <a:cubicBezTo>
                      <a:pt x="178" y="124"/>
                      <a:pt x="176" y="130"/>
                      <a:pt x="179" y="135"/>
                    </a:cubicBezTo>
                    <a:cubicBezTo>
                      <a:pt x="214" y="194"/>
                      <a:pt x="214" y="194"/>
                      <a:pt x="214" y="194"/>
                    </a:cubicBezTo>
                    <a:cubicBezTo>
                      <a:pt x="214" y="194"/>
                      <a:pt x="214" y="194"/>
                      <a:pt x="214" y="194"/>
                    </a:cubicBezTo>
                    <a:cubicBezTo>
                      <a:pt x="217" y="199"/>
                      <a:pt x="217" y="206"/>
                      <a:pt x="211" y="209"/>
                    </a:cubicBezTo>
                    <a:cubicBezTo>
                      <a:pt x="205" y="212"/>
                      <a:pt x="198" y="210"/>
                      <a:pt x="194" y="204"/>
                    </a:cubicBezTo>
                    <a:cubicBezTo>
                      <a:pt x="162" y="151"/>
                      <a:pt x="162" y="151"/>
                      <a:pt x="162" y="151"/>
                    </a:cubicBezTo>
                    <a:cubicBezTo>
                      <a:pt x="159" y="146"/>
                      <a:pt x="153" y="144"/>
                      <a:pt x="147" y="147"/>
                    </a:cubicBezTo>
                    <a:cubicBezTo>
                      <a:pt x="142" y="150"/>
                      <a:pt x="141" y="157"/>
                      <a:pt x="144" y="162"/>
                    </a:cubicBezTo>
                    <a:cubicBezTo>
                      <a:pt x="164" y="196"/>
                      <a:pt x="164" y="196"/>
                      <a:pt x="164" y="196"/>
                    </a:cubicBezTo>
                    <a:cubicBezTo>
                      <a:pt x="166" y="198"/>
                      <a:pt x="166" y="201"/>
                      <a:pt x="165" y="204"/>
                    </a:cubicBezTo>
                    <a:cubicBezTo>
                      <a:pt x="165" y="207"/>
                      <a:pt x="163" y="210"/>
                      <a:pt x="160" y="212"/>
                    </a:cubicBezTo>
                    <a:cubicBezTo>
                      <a:pt x="154" y="215"/>
                      <a:pt x="147" y="213"/>
                      <a:pt x="143" y="208"/>
                    </a:cubicBezTo>
                    <a:cubicBezTo>
                      <a:pt x="143" y="208"/>
                      <a:pt x="143" y="208"/>
                      <a:pt x="143" y="20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24" y="176"/>
                      <a:pt x="124" y="176"/>
                      <a:pt x="124" y="176"/>
                    </a:cubicBezTo>
                    <a:cubicBezTo>
                      <a:pt x="121" y="171"/>
                      <a:pt x="114" y="170"/>
                      <a:pt x="110" y="173"/>
                    </a:cubicBezTo>
                    <a:cubicBezTo>
                      <a:pt x="105" y="176"/>
                      <a:pt x="103" y="183"/>
                      <a:pt x="106" y="188"/>
                    </a:cubicBezTo>
                    <a:cubicBezTo>
                      <a:pt x="114" y="199"/>
                      <a:pt x="114" y="199"/>
                      <a:pt x="114" y="199"/>
                    </a:cubicBezTo>
                    <a:cubicBezTo>
                      <a:pt x="115" y="201"/>
                      <a:pt x="118" y="209"/>
                      <a:pt x="111" y="214"/>
                    </a:cubicBezTo>
                    <a:cubicBezTo>
                      <a:pt x="105" y="217"/>
                      <a:pt x="97" y="213"/>
                      <a:pt x="94" y="208"/>
                    </a:cubicBezTo>
                    <a:cubicBezTo>
                      <a:pt x="62" y="155"/>
                      <a:pt x="62" y="155"/>
                      <a:pt x="62" y="155"/>
                    </a:cubicBezTo>
                    <a:cubicBezTo>
                      <a:pt x="60" y="151"/>
                      <a:pt x="57" y="149"/>
                      <a:pt x="53" y="149"/>
                    </a:cubicBezTo>
                    <a:cubicBezTo>
                      <a:pt x="32" y="149"/>
                      <a:pt x="32" y="149"/>
                      <a:pt x="32" y="14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88" y="53"/>
                      <a:pt x="88" y="53"/>
                      <a:pt x="88" y="53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70" y="64"/>
                      <a:pt x="64" y="74"/>
                      <a:pt x="64" y="85"/>
                    </a:cubicBezTo>
                    <a:cubicBezTo>
                      <a:pt x="64" y="95"/>
                      <a:pt x="68" y="105"/>
                      <a:pt x="74" y="111"/>
                    </a:cubicBezTo>
                    <a:cubicBezTo>
                      <a:pt x="81" y="116"/>
                      <a:pt x="89" y="118"/>
                      <a:pt x="97" y="117"/>
                    </a:cubicBezTo>
                    <a:cubicBezTo>
                      <a:pt x="211" y="98"/>
                      <a:pt x="211" y="98"/>
                      <a:pt x="211" y="98"/>
                    </a:cubicBezTo>
                    <a:cubicBezTo>
                      <a:pt x="253" y="170"/>
                      <a:pt x="253" y="170"/>
                      <a:pt x="253" y="170"/>
                    </a:cubicBezTo>
                    <a:cubicBezTo>
                      <a:pt x="254" y="173"/>
                      <a:pt x="255" y="176"/>
                      <a:pt x="254" y="179"/>
                    </a:cubicBezTo>
                    <a:close/>
                    <a:moveTo>
                      <a:pt x="288" y="149"/>
                    </a:moveTo>
                    <a:cubicBezTo>
                      <a:pt x="266" y="149"/>
                      <a:pt x="266" y="149"/>
                      <a:pt x="266" y="149"/>
                    </a:cubicBezTo>
                    <a:cubicBezTo>
                      <a:pt x="266" y="149"/>
                      <a:pt x="266" y="150"/>
                      <a:pt x="265" y="150"/>
                    </a:cubicBezTo>
                    <a:cubicBezTo>
                      <a:pt x="226" y="81"/>
                      <a:pt x="226" y="81"/>
                      <a:pt x="226" y="81"/>
                    </a:cubicBezTo>
                    <a:cubicBezTo>
                      <a:pt x="224" y="77"/>
                      <a:pt x="220" y="75"/>
                      <a:pt x="215" y="76"/>
                    </a:cubicBezTo>
                    <a:cubicBezTo>
                      <a:pt x="94" y="96"/>
                      <a:pt x="94" y="96"/>
                      <a:pt x="94" y="96"/>
                    </a:cubicBezTo>
                    <a:cubicBezTo>
                      <a:pt x="91" y="97"/>
                      <a:pt x="89" y="96"/>
                      <a:pt x="88" y="95"/>
                    </a:cubicBezTo>
                    <a:cubicBezTo>
                      <a:pt x="86" y="93"/>
                      <a:pt x="85" y="89"/>
                      <a:pt x="85" y="85"/>
                    </a:cubicBezTo>
                    <a:cubicBezTo>
                      <a:pt x="85" y="80"/>
                      <a:pt x="88" y="78"/>
                      <a:pt x="90" y="77"/>
                    </a:cubicBezTo>
                    <a:cubicBezTo>
                      <a:pt x="172" y="33"/>
                      <a:pt x="172" y="33"/>
                      <a:pt x="172" y="33"/>
                    </a:cubicBezTo>
                    <a:cubicBezTo>
                      <a:pt x="242" y="53"/>
                      <a:pt x="242" y="53"/>
                      <a:pt x="242" y="53"/>
                    </a:cubicBezTo>
                    <a:cubicBezTo>
                      <a:pt x="243" y="53"/>
                      <a:pt x="244" y="53"/>
                      <a:pt x="245" y="53"/>
                    </a:cubicBezTo>
                    <a:cubicBezTo>
                      <a:pt x="288" y="53"/>
                      <a:pt x="288" y="53"/>
                      <a:pt x="288" y="53"/>
                    </a:cubicBezTo>
                    <a:lnTo>
                      <a:pt x="288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</p:grpSp>
        <p:grpSp>
          <p:nvGrpSpPr>
            <p:cNvPr id="18" name="Group 759">
              <a:extLst>
                <a:ext uri="{FF2B5EF4-FFF2-40B4-BE49-F238E27FC236}">
                  <a16:creationId xmlns:a16="http://schemas.microsoft.com/office/drawing/2014/main" id="{D0357D52-70C5-B6F0-4480-F77B67CC3A0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58568" y="2536194"/>
              <a:ext cx="356195" cy="356195"/>
              <a:chOff x="2732" y="2698"/>
              <a:chExt cx="340" cy="340"/>
            </a:xfrm>
            <a:solidFill>
              <a:schemeClr val="accent5"/>
            </a:solidFill>
          </p:grpSpPr>
          <p:sp>
            <p:nvSpPr>
              <p:cNvPr id="24" name="Freeform 760">
                <a:extLst>
                  <a:ext uri="{FF2B5EF4-FFF2-40B4-BE49-F238E27FC236}">
                    <a16:creationId xmlns:a16="http://schemas.microsoft.com/office/drawing/2014/main" id="{3576A92B-02A2-A17B-7095-F9706ABAA6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2" y="269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  <p:sp>
            <p:nvSpPr>
              <p:cNvPr id="25" name="Freeform 761">
                <a:extLst>
                  <a:ext uri="{FF2B5EF4-FFF2-40B4-BE49-F238E27FC236}">
                    <a16:creationId xmlns:a16="http://schemas.microsoft.com/office/drawing/2014/main" id="{B82B9A55-A474-D9FC-9068-25D99889B2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17" y="2762"/>
                <a:ext cx="170" cy="212"/>
              </a:xfrm>
              <a:custGeom>
                <a:avLst/>
                <a:gdLst>
                  <a:gd name="T0" fmla="*/ 245 w 256"/>
                  <a:gd name="T1" fmla="*/ 320 h 320"/>
                  <a:gd name="T2" fmla="*/ 234 w 256"/>
                  <a:gd name="T3" fmla="*/ 309 h 320"/>
                  <a:gd name="T4" fmla="*/ 234 w 256"/>
                  <a:gd name="T5" fmla="*/ 213 h 320"/>
                  <a:gd name="T6" fmla="*/ 192 w 256"/>
                  <a:gd name="T7" fmla="*/ 170 h 320"/>
                  <a:gd name="T8" fmla="*/ 64 w 256"/>
                  <a:gd name="T9" fmla="*/ 170 h 320"/>
                  <a:gd name="T10" fmla="*/ 21 w 256"/>
                  <a:gd name="T11" fmla="*/ 213 h 320"/>
                  <a:gd name="T12" fmla="*/ 21 w 256"/>
                  <a:gd name="T13" fmla="*/ 309 h 320"/>
                  <a:gd name="T14" fmla="*/ 10 w 256"/>
                  <a:gd name="T15" fmla="*/ 320 h 320"/>
                  <a:gd name="T16" fmla="*/ 0 w 256"/>
                  <a:gd name="T17" fmla="*/ 309 h 320"/>
                  <a:gd name="T18" fmla="*/ 0 w 256"/>
                  <a:gd name="T19" fmla="*/ 213 h 320"/>
                  <a:gd name="T20" fmla="*/ 64 w 256"/>
                  <a:gd name="T21" fmla="*/ 149 h 320"/>
                  <a:gd name="T22" fmla="*/ 192 w 256"/>
                  <a:gd name="T23" fmla="*/ 149 h 320"/>
                  <a:gd name="T24" fmla="*/ 256 w 256"/>
                  <a:gd name="T25" fmla="*/ 213 h 320"/>
                  <a:gd name="T26" fmla="*/ 256 w 256"/>
                  <a:gd name="T27" fmla="*/ 309 h 320"/>
                  <a:gd name="T28" fmla="*/ 245 w 256"/>
                  <a:gd name="T29" fmla="*/ 320 h 320"/>
                  <a:gd name="T30" fmla="*/ 192 w 256"/>
                  <a:gd name="T31" fmla="*/ 64 h 320"/>
                  <a:gd name="T32" fmla="*/ 128 w 256"/>
                  <a:gd name="T33" fmla="*/ 0 h 320"/>
                  <a:gd name="T34" fmla="*/ 64 w 256"/>
                  <a:gd name="T35" fmla="*/ 64 h 320"/>
                  <a:gd name="T36" fmla="*/ 128 w 256"/>
                  <a:gd name="T37" fmla="*/ 128 h 320"/>
                  <a:gd name="T38" fmla="*/ 192 w 256"/>
                  <a:gd name="T39" fmla="*/ 64 h 320"/>
                  <a:gd name="T40" fmla="*/ 170 w 256"/>
                  <a:gd name="T41" fmla="*/ 64 h 320"/>
                  <a:gd name="T42" fmla="*/ 128 w 256"/>
                  <a:gd name="T43" fmla="*/ 106 h 320"/>
                  <a:gd name="T44" fmla="*/ 85 w 256"/>
                  <a:gd name="T45" fmla="*/ 64 h 320"/>
                  <a:gd name="T46" fmla="*/ 128 w 256"/>
                  <a:gd name="T47" fmla="*/ 21 h 320"/>
                  <a:gd name="T48" fmla="*/ 170 w 256"/>
                  <a:gd name="T49" fmla="*/ 64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320">
                    <a:moveTo>
                      <a:pt x="245" y="320"/>
                    </a:moveTo>
                    <a:cubicBezTo>
                      <a:pt x="239" y="320"/>
                      <a:pt x="234" y="315"/>
                      <a:pt x="234" y="309"/>
                    </a:cubicBezTo>
                    <a:cubicBezTo>
                      <a:pt x="234" y="213"/>
                      <a:pt x="234" y="213"/>
                      <a:pt x="234" y="213"/>
                    </a:cubicBezTo>
                    <a:cubicBezTo>
                      <a:pt x="234" y="189"/>
                      <a:pt x="215" y="170"/>
                      <a:pt x="192" y="170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40" y="170"/>
                      <a:pt x="21" y="189"/>
                      <a:pt x="21" y="213"/>
                    </a:cubicBezTo>
                    <a:cubicBezTo>
                      <a:pt x="21" y="309"/>
                      <a:pt x="21" y="309"/>
                      <a:pt x="21" y="309"/>
                    </a:cubicBezTo>
                    <a:cubicBezTo>
                      <a:pt x="21" y="315"/>
                      <a:pt x="16" y="320"/>
                      <a:pt x="10" y="320"/>
                    </a:cubicBezTo>
                    <a:cubicBezTo>
                      <a:pt x="4" y="320"/>
                      <a:pt x="0" y="315"/>
                      <a:pt x="0" y="309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178"/>
                      <a:pt x="28" y="149"/>
                      <a:pt x="64" y="149"/>
                    </a:cubicBezTo>
                    <a:cubicBezTo>
                      <a:pt x="192" y="149"/>
                      <a:pt x="192" y="149"/>
                      <a:pt x="192" y="149"/>
                    </a:cubicBezTo>
                    <a:cubicBezTo>
                      <a:pt x="227" y="149"/>
                      <a:pt x="256" y="178"/>
                      <a:pt x="256" y="213"/>
                    </a:cubicBezTo>
                    <a:cubicBezTo>
                      <a:pt x="256" y="309"/>
                      <a:pt x="256" y="309"/>
                      <a:pt x="256" y="309"/>
                    </a:cubicBezTo>
                    <a:cubicBezTo>
                      <a:pt x="256" y="315"/>
                      <a:pt x="251" y="320"/>
                      <a:pt x="245" y="320"/>
                    </a:cubicBezTo>
                    <a:close/>
                    <a:moveTo>
                      <a:pt x="192" y="64"/>
                    </a:moveTo>
                    <a:cubicBezTo>
                      <a:pt x="192" y="28"/>
                      <a:pt x="163" y="0"/>
                      <a:pt x="128" y="0"/>
                    </a:cubicBezTo>
                    <a:cubicBezTo>
                      <a:pt x="92" y="0"/>
                      <a:pt x="64" y="28"/>
                      <a:pt x="64" y="64"/>
                    </a:cubicBezTo>
                    <a:cubicBezTo>
                      <a:pt x="64" y="99"/>
                      <a:pt x="92" y="128"/>
                      <a:pt x="128" y="128"/>
                    </a:cubicBezTo>
                    <a:cubicBezTo>
                      <a:pt x="163" y="128"/>
                      <a:pt x="192" y="99"/>
                      <a:pt x="192" y="64"/>
                    </a:cubicBezTo>
                    <a:close/>
                    <a:moveTo>
                      <a:pt x="170" y="64"/>
                    </a:moveTo>
                    <a:cubicBezTo>
                      <a:pt x="170" y="87"/>
                      <a:pt x="151" y="106"/>
                      <a:pt x="128" y="106"/>
                    </a:cubicBezTo>
                    <a:cubicBezTo>
                      <a:pt x="104" y="106"/>
                      <a:pt x="85" y="87"/>
                      <a:pt x="85" y="64"/>
                    </a:cubicBezTo>
                    <a:cubicBezTo>
                      <a:pt x="85" y="40"/>
                      <a:pt x="104" y="21"/>
                      <a:pt x="128" y="21"/>
                    </a:cubicBezTo>
                    <a:cubicBezTo>
                      <a:pt x="151" y="21"/>
                      <a:pt x="170" y="40"/>
                      <a:pt x="170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</p:grpSp>
        <p:grpSp>
          <p:nvGrpSpPr>
            <p:cNvPr id="19" name="Group 459">
              <a:extLst>
                <a:ext uri="{FF2B5EF4-FFF2-40B4-BE49-F238E27FC236}">
                  <a16:creationId xmlns:a16="http://schemas.microsoft.com/office/drawing/2014/main" id="{C4CCC9BD-FDE8-217C-83F3-53C17F547B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46356" y="5735171"/>
              <a:ext cx="369889" cy="369889"/>
              <a:chOff x="1918" y="1565"/>
              <a:chExt cx="340" cy="340"/>
            </a:xfrm>
            <a:solidFill>
              <a:schemeClr val="accent5"/>
            </a:solidFill>
          </p:grpSpPr>
          <p:sp>
            <p:nvSpPr>
              <p:cNvPr id="22" name="Freeform 460">
                <a:extLst>
                  <a:ext uri="{FF2B5EF4-FFF2-40B4-BE49-F238E27FC236}">
                    <a16:creationId xmlns:a16="http://schemas.microsoft.com/office/drawing/2014/main" id="{351EB477-B522-9C9A-0BA0-16C2BEE75F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0" y="1636"/>
                <a:ext cx="156" cy="199"/>
              </a:xfrm>
              <a:custGeom>
                <a:avLst/>
                <a:gdLst>
                  <a:gd name="T0" fmla="*/ 224 w 234"/>
                  <a:gd name="T1" fmla="*/ 0 h 299"/>
                  <a:gd name="T2" fmla="*/ 10 w 234"/>
                  <a:gd name="T3" fmla="*/ 0 h 299"/>
                  <a:gd name="T4" fmla="*/ 0 w 234"/>
                  <a:gd name="T5" fmla="*/ 11 h 299"/>
                  <a:gd name="T6" fmla="*/ 0 w 234"/>
                  <a:gd name="T7" fmla="*/ 288 h 299"/>
                  <a:gd name="T8" fmla="*/ 10 w 234"/>
                  <a:gd name="T9" fmla="*/ 299 h 299"/>
                  <a:gd name="T10" fmla="*/ 224 w 234"/>
                  <a:gd name="T11" fmla="*/ 299 h 299"/>
                  <a:gd name="T12" fmla="*/ 234 w 234"/>
                  <a:gd name="T13" fmla="*/ 288 h 299"/>
                  <a:gd name="T14" fmla="*/ 234 w 234"/>
                  <a:gd name="T15" fmla="*/ 11 h 299"/>
                  <a:gd name="T16" fmla="*/ 224 w 234"/>
                  <a:gd name="T17" fmla="*/ 0 h 299"/>
                  <a:gd name="T18" fmla="*/ 213 w 234"/>
                  <a:gd name="T19" fmla="*/ 277 h 299"/>
                  <a:gd name="T20" fmla="*/ 21 w 234"/>
                  <a:gd name="T21" fmla="*/ 277 h 299"/>
                  <a:gd name="T22" fmla="*/ 21 w 234"/>
                  <a:gd name="T23" fmla="*/ 21 h 299"/>
                  <a:gd name="T24" fmla="*/ 213 w 234"/>
                  <a:gd name="T25" fmla="*/ 21 h 299"/>
                  <a:gd name="T26" fmla="*/ 213 w 234"/>
                  <a:gd name="T27" fmla="*/ 277 h 299"/>
                  <a:gd name="T28" fmla="*/ 128 w 234"/>
                  <a:gd name="T29" fmla="*/ 245 h 299"/>
                  <a:gd name="T30" fmla="*/ 117 w 234"/>
                  <a:gd name="T31" fmla="*/ 256 h 299"/>
                  <a:gd name="T32" fmla="*/ 106 w 234"/>
                  <a:gd name="T33" fmla="*/ 245 h 299"/>
                  <a:gd name="T34" fmla="*/ 117 w 234"/>
                  <a:gd name="T35" fmla="*/ 235 h 299"/>
                  <a:gd name="T36" fmla="*/ 128 w 234"/>
                  <a:gd name="T37" fmla="*/ 245 h 299"/>
                  <a:gd name="T38" fmla="*/ 42 w 234"/>
                  <a:gd name="T39" fmla="*/ 213 h 299"/>
                  <a:gd name="T40" fmla="*/ 192 w 234"/>
                  <a:gd name="T41" fmla="*/ 213 h 299"/>
                  <a:gd name="T42" fmla="*/ 202 w 234"/>
                  <a:gd name="T43" fmla="*/ 203 h 299"/>
                  <a:gd name="T44" fmla="*/ 202 w 234"/>
                  <a:gd name="T45" fmla="*/ 43 h 299"/>
                  <a:gd name="T46" fmla="*/ 192 w 234"/>
                  <a:gd name="T47" fmla="*/ 32 h 299"/>
                  <a:gd name="T48" fmla="*/ 42 w 234"/>
                  <a:gd name="T49" fmla="*/ 32 h 299"/>
                  <a:gd name="T50" fmla="*/ 32 w 234"/>
                  <a:gd name="T51" fmla="*/ 43 h 299"/>
                  <a:gd name="T52" fmla="*/ 32 w 234"/>
                  <a:gd name="T53" fmla="*/ 203 h 299"/>
                  <a:gd name="T54" fmla="*/ 42 w 234"/>
                  <a:gd name="T55" fmla="*/ 213 h 299"/>
                  <a:gd name="T56" fmla="*/ 53 w 234"/>
                  <a:gd name="T57" fmla="*/ 53 h 299"/>
                  <a:gd name="T58" fmla="*/ 181 w 234"/>
                  <a:gd name="T59" fmla="*/ 53 h 299"/>
                  <a:gd name="T60" fmla="*/ 181 w 234"/>
                  <a:gd name="T61" fmla="*/ 192 h 299"/>
                  <a:gd name="T62" fmla="*/ 53 w 234"/>
                  <a:gd name="T63" fmla="*/ 192 h 299"/>
                  <a:gd name="T64" fmla="*/ 53 w 234"/>
                  <a:gd name="T65" fmla="*/ 5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4" h="299">
                    <a:moveTo>
                      <a:pt x="22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294"/>
                      <a:pt x="4" y="299"/>
                      <a:pt x="10" y="299"/>
                    </a:cubicBezTo>
                    <a:cubicBezTo>
                      <a:pt x="224" y="299"/>
                      <a:pt x="224" y="299"/>
                      <a:pt x="224" y="299"/>
                    </a:cubicBezTo>
                    <a:cubicBezTo>
                      <a:pt x="230" y="299"/>
                      <a:pt x="234" y="294"/>
                      <a:pt x="234" y="288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4" y="5"/>
                      <a:pt x="230" y="0"/>
                      <a:pt x="224" y="0"/>
                    </a:cubicBezTo>
                    <a:close/>
                    <a:moveTo>
                      <a:pt x="213" y="277"/>
                    </a:moveTo>
                    <a:cubicBezTo>
                      <a:pt x="21" y="277"/>
                      <a:pt x="21" y="277"/>
                      <a:pt x="21" y="277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3" y="21"/>
                      <a:pt x="213" y="21"/>
                      <a:pt x="213" y="21"/>
                    </a:cubicBezTo>
                    <a:lnTo>
                      <a:pt x="213" y="277"/>
                    </a:lnTo>
                    <a:close/>
                    <a:moveTo>
                      <a:pt x="128" y="245"/>
                    </a:moveTo>
                    <a:cubicBezTo>
                      <a:pt x="128" y="251"/>
                      <a:pt x="123" y="256"/>
                      <a:pt x="117" y="256"/>
                    </a:cubicBezTo>
                    <a:cubicBezTo>
                      <a:pt x="111" y="256"/>
                      <a:pt x="106" y="251"/>
                      <a:pt x="106" y="245"/>
                    </a:cubicBezTo>
                    <a:cubicBezTo>
                      <a:pt x="106" y="239"/>
                      <a:pt x="111" y="235"/>
                      <a:pt x="117" y="235"/>
                    </a:cubicBezTo>
                    <a:cubicBezTo>
                      <a:pt x="123" y="235"/>
                      <a:pt x="128" y="239"/>
                      <a:pt x="128" y="245"/>
                    </a:cubicBezTo>
                    <a:close/>
                    <a:moveTo>
                      <a:pt x="42" y="213"/>
                    </a:moveTo>
                    <a:cubicBezTo>
                      <a:pt x="192" y="213"/>
                      <a:pt x="192" y="213"/>
                      <a:pt x="192" y="213"/>
                    </a:cubicBezTo>
                    <a:cubicBezTo>
                      <a:pt x="198" y="213"/>
                      <a:pt x="202" y="209"/>
                      <a:pt x="202" y="203"/>
                    </a:cubicBezTo>
                    <a:cubicBezTo>
                      <a:pt x="202" y="43"/>
                      <a:pt x="202" y="43"/>
                      <a:pt x="202" y="43"/>
                    </a:cubicBezTo>
                    <a:cubicBezTo>
                      <a:pt x="202" y="37"/>
                      <a:pt x="198" y="32"/>
                      <a:pt x="192" y="32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32"/>
                      <a:pt x="32" y="37"/>
                      <a:pt x="32" y="43"/>
                    </a:cubicBezTo>
                    <a:cubicBezTo>
                      <a:pt x="32" y="203"/>
                      <a:pt x="32" y="203"/>
                      <a:pt x="32" y="203"/>
                    </a:cubicBezTo>
                    <a:cubicBezTo>
                      <a:pt x="32" y="209"/>
                      <a:pt x="36" y="213"/>
                      <a:pt x="42" y="213"/>
                    </a:cubicBezTo>
                    <a:close/>
                    <a:moveTo>
                      <a:pt x="53" y="53"/>
                    </a:moveTo>
                    <a:cubicBezTo>
                      <a:pt x="181" y="53"/>
                      <a:pt x="181" y="53"/>
                      <a:pt x="181" y="53"/>
                    </a:cubicBezTo>
                    <a:cubicBezTo>
                      <a:pt x="181" y="192"/>
                      <a:pt x="181" y="192"/>
                      <a:pt x="181" y="192"/>
                    </a:cubicBezTo>
                    <a:cubicBezTo>
                      <a:pt x="53" y="192"/>
                      <a:pt x="53" y="192"/>
                      <a:pt x="53" y="192"/>
                    </a:cubicBezTo>
                    <a:lnTo>
                      <a:pt x="53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  <p:sp>
            <p:nvSpPr>
              <p:cNvPr id="23" name="Freeform 461">
                <a:extLst>
                  <a:ext uri="{FF2B5EF4-FFF2-40B4-BE49-F238E27FC236}">
                    <a16:creationId xmlns:a16="http://schemas.microsoft.com/office/drawing/2014/main" id="{A2775D19-1943-A2C0-5184-19C503A7F4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18" y="1565"/>
                <a:ext cx="340" cy="340"/>
              </a:xfrm>
              <a:custGeom>
                <a:avLst/>
                <a:gdLst>
                  <a:gd name="T0" fmla="*/ 256 w 512"/>
                  <a:gd name="T1" fmla="*/ 22 h 512"/>
                  <a:gd name="T2" fmla="*/ 491 w 512"/>
                  <a:gd name="T3" fmla="*/ 256 h 512"/>
                  <a:gd name="T4" fmla="*/ 256 w 512"/>
                  <a:gd name="T5" fmla="*/ 491 h 512"/>
                  <a:gd name="T6" fmla="*/ 21 w 512"/>
                  <a:gd name="T7" fmla="*/ 256 h 512"/>
                  <a:gd name="T8" fmla="*/ 256 w 512"/>
                  <a:gd name="T9" fmla="*/ 22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2"/>
                    </a:moveTo>
                    <a:cubicBezTo>
                      <a:pt x="385" y="22"/>
                      <a:pt x="491" y="127"/>
                      <a:pt x="491" y="256"/>
                    </a:cubicBezTo>
                    <a:cubicBezTo>
                      <a:pt x="491" y="386"/>
                      <a:pt x="385" y="491"/>
                      <a:pt x="256" y="491"/>
                    </a:cubicBezTo>
                    <a:cubicBezTo>
                      <a:pt x="127" y="491"/>
                      <a:pt x="21" y="386"/>
                      <a:pt x="21" y="256"/>
                    </a:cubicBezTo>
                    <a:cubicBezTo>
                      <a:pt x="21" y="127"/>
                      <a:pt x="127" y="22"/>
                      <a:pt x="256" y="22"/>
                    </a:cubicBezTo>
                    <a:moveTo>
                      <a:pt x="256" y="0"/>
                    </a:moveTo>
                    <a:cubicBezTo>
                      <a:pt x="115" y="0"/>
                      <a:pt x="0" y="115"/>
                      <a:pt x="0" y="256"/>
                    </a:cubicBezTo>
                    <a:cubicBezTo>
                      <a:pt x="0" y="398"/>
                      <a:pt x="115" y="512"/>
                      <a:pt x="256" y="512"/>
                    </a:cubicBezTo>
                    <a:cubicBezTo>
                      <a:pt x="397" y="512"/>
                      <a:pt x="512" y="398"/>
                      <a:pt x="512" y="256"/>
                    </a:cubicBezTo>
                    <a:cubicBezTo>
                      <a:pt x="512" y="115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800" dirty="0"/>
              </a:p>
            </p:txBody>
          </p:sp>
        </p:grp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26E4818-4CBE-DC4F-DA9C-319991989031}"/>
                </a:ext>
              </a:extLst>
            </p:cNvPr>
            <p:cNvSpPr/>
            <p:nvPr/>
          </p:nvSpPr>
          <p:spPr bwMode="gray">
            <a:xfrm>
              <a:off x="3000375" y="3600450"/>
              <a:ext cx="381000" cy="1038225"/>
            </a:xfrm>
            <a:custGeom>
              <a:avLst/>
              <a:gdLst>
                <a:gd name="connsiteX0" fmla="*/ 9525 w 381000"/>
                <a:gd name="connsiteY0" fmla="*/ 19050 h 1038225"/>
                <a:gd name="connsiteX1" fmla="*/ 0 w 381000"/>
                <a:gd name="connsiteY1" fmla="*/ 742950 h 1038225"/>
                <a:gd name="connsiteX2" fmla="*/ 171450 w 381000"/>
                <a:gd name="connsiteY2" fmla="*/ 1038225 h 1038225"/>
                <a:gd name="connsiteX3" fmla="*/ 381000 w 381000"/>
                <a:gd name="connsiteY3" fmla="*/ 857250 h 1038225"/>
                <a:gd name="connsiteX4" fmla="*/ 323850 w 381000"/>
                <a:gd name="connsiteY4" fmla="*/ 342900 h 1038225"/>
                <a:gd name="connsiteX5" fmla="*/ 276225 w 381000"/>
                <a:gd name="connsiteY5" fmla="*/ 123825 h 1038225"/>
                <a:gd name="connsiteX6" fmla="*/ 85725 w 381000"/>
                <a:gd name="connsiteY6" fmla="*/ 0 h 1038225"/>
                <a:gd name="connsiteX7" fmla="*/ 9525 w 381000"/>
                <a:gd name="connsiteY7" fmla="*/ 19050 h 103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000" h="1038225">
                  <a:moveTo>
                    <a:pt x="9525" y="19050"/>
                  </a:moveTo>
                  <a:lnTo>
                    <a:pt x="0" y="742950"/>
                  </a:lnTo>
                  <a:lnTo>
                    <a:pt x="171450" y="1038225"/>
                  </a:lnTo>
                  <a:lnTo>
                    <a:pt x="381000" y="857250"/>
                  </a:lnTo>
                  <a:lnTo>
                    <a:pt x="323850" y="342900"/>
                  </a:lnTo>
                  <a:lnTo>
                    <a:pt x="276225" y="123825"/>
                  </a:lnTo>
                  <a:lnTo>
                    <a:pt x="85725" y="0"/>
                  </a:lnTo>
                  <a:lnTo>
                    <a:pt x="9525" y="19050"/>
                  </a:lnTo>
                  <a:close/>
                </a:path>
              </a:pathLst>
            </a:cu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0E54134-E246-A399-CE66-AC0AEFBF7718}"/>
                </a:ext>
              </a:extLst>
            </p:cNvPr>
            <p:cNvSpPr/>
            <p:nvPr/>
          </p:nvSpPr>
          <p:spPr bwMode="gray">
            <a:xfrm>
              <a:off x="4295775" y="2905125"/>
              <a:ext cx="438150" cy="161925"/>
            </a:xfrm>
            <a:custGeom>
              <a:avLst/>
              <a:gdLst>
                <a:gd name="connsiteX0" fmla="*/ 9525 w 438150"/>
                <a:gd name="connsiteY0" fmla="*/ 0 h 161925"/>
                <a:gd name="connsiteX1" fmla="*/ 0 w 438150"/>
                <a:gd name="connsiteY1" fmla="*/ 161925 h 161925"/>
                <a:gd name="connsiteX2" fmla="*/ 428625 w 438150"/>
                <a:gd name="connsiteY2" fmla="*/ 123825 h 161925"/>
                <a:gd name="connsiteX3" fmla="*/ 438150 w 438150"/>
                <a:gd name="connsiteY3" fmla="*/ 19050 h 161925"/>
                <a:gd name="connsiteX4" fmla="*/ 9525 w 438150"/>
                <a:gd name="connsiteY4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50" h="161925">
                  <a:moveTo>
                    <a:pt x="9525" y="0"/>
                  </a:moveTo>
                  <a:lnTo>
                    <a:pt x="0" y="161925"/>
                  </a:lnTo>
                  <a:lnTo>
                    <a:pt x="428625" y="123825"/>
                  </a:lnTo>
                  <a:lnTo>
                    <a:pt x="438150" y="19050"/>
                  </a:lnTo>
                  <a:lnTo>
                    <a:pt x="9525" y="0"/>
                  </a:lnTo>
                  <a:close/>
                </a:path>
              </a:pathLst>
            </a:cu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0874F34-1EF2-5E13-1BE0-4F44B08440DF}"/>
                </a:ext>
              </a:extLst>
            </p:cNvPr>
            <p:cNvSpPr/>
            <p:nvPr/>
          </p:nvSpPr>
          <p:spPr bwMode="gray">
            <a:xfrm>
              <a:off x="6924675" y="1419225"/>
              <a:ext cx="590550" cy="523875"/>
            </a:xfrm>
            <a:custGeom>
              <a:avLst/>
              <a:gdLst>
                <a:gd name="connsiteX0" fmla="*/ 85725 w 590550"/>
                <a:gd name="connsiteY0" fmla="*/ 0 h 523875"/>
                <a:gd name="connsiteX1" fmla="*/ 0 w 590550"/>
                <a:gd name="connsiteY1" fmla="*/ 361950 h 523875"/>
                <a:gd name="connsiteX2" fmla="*/ 476250 w 590550"/>
                <a:gd name="connsiteY2" fmla="*/ 523875 h 523875"/>
                <a:gd name="connsiteX3" fmla="*/ 542925 w 590550"/>
                <a:gd name="connsiteY3" fmla="*/ 390525 h 523875"/>
                <a:gd name="connsiteX4" fmla="*/ 590550 w 590550"/>
                <a:gd name="connsiteY4" fmla="*/ 200025 h 523875"/>
                <a:gd name="connsiteX5" fmla="*/ 85725 w 590550"/>
                <a:gd name="connsiteY5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550" h="523875">
                  <a:moveTo>
                    <a:pt x="85725" y="0"/>
                  </a:moveTo>
                  <a:lnTo>
                    <a:pt x="0" y="361950"/>
                  </a:lnTo>
                  <a:lnTo>
                    <a:pt x="476250" y="523875"/>
                  </a:lnTo>
                  <a:lnTo>
                    <a:pt x="542925" y="390525"/>
                  </a:lnTo>
                  <a:lnTo>
                    <a:pt x="590550" y="200025"/>
                  </a:lnTo>
                  <a:lnTo>
                    <a:pt x="85725" y="0"/>
                  </a:lnTo>
                  <a:close/>
                </a:path>
              </a:pathLst>
            </a:cu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8D7444B-A833-3D28-D93F-C145B934969B}"/>
                </a:ext>
              </a:extLst>
            </p:cNvPr>
            <p:cNvSpPr/>
            <p:nvPr/>
          </p:nvSpPr>
          <p:spPr bwMode="gray">
            <a:xfrm>
              <a:off x="7603083" y="2950167"/>
              <a:ext cx="496548" cy="115195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BB43FC6-A0EE-59AE-9D76-01DD2D9717E8}"/>
                </a:ext>
              </a:extLst>
            </p:cNvPr>
            <p:cNvSpPr/>
            <p:nvPr/>
          </p:nvSpPr>
          <p:spPr bwMode="gray">
            <a:xfrm>
              <a:off x="7146356" y="6120655"/>
              <a:ext cx="368869" cy="14106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69A94C-6776-FD01-C17D-3E2F1F8D6508}"/>
                </a:ext>
              </a:extLst>
            </p:cNvPr>
            <p:cNvSpPr/>
            <p:nvPr/>
          </p:nvSpPr>
          <p:spPr bwMode="gray">
            <a:xfrm>
              <a:off x="8972550" y="4762500"/>
              <a:ext cx="457200" cy="771525"/>
            </a:xfrm>
            <a:custGeom>
              <a:avLst/>
              <a:gdLst>
                <a:gd name="connsiteX0" fmla="*/ 457200 w 457200"/>
                <a:gd name="connsiteY0" fmla="*/ 0 h 771525"/>
                <a:gd name="connsiteX1" fmla="*/ 123825 w 457200"/>
                <a:gd name="connsiteY1" fmla="*/ 38100 h 771525"/>
                <a:gd name="connsiteX2" fmla="*/ 0 w 457200"/>
                <a:gd name="connsiteY2" fmla="*/ 733425 h 771525"/>
                <a:gd name="connsiteX3" fmla="*/ 133350 w 457200"/>
                <a:gd name="connsiteY3" fmla="*/ 771525 h 771525"/>
                <a:gd name="connsiteX4" fmla="*/ 400050 w 457200"/>
                <a:gd name="connsiteY4" fmla="*/ 457200 h 771525"/>
                <a:gd name="connsiteX5" fmla="*/ 457200 w 457200"/>
                <a:gd name="connsiteY5" fmla="*/ 0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200" h="771525">
                  <a:moveTo>
                    <a:pt x="457200" y="0"/>
                  </a:moveTo>
                  <a:lnTo>
                    <a:pt x="123825" y="38100"/>
                  </a:lnTo>
                  <a:lnTo>
                    <a:pt x="0" y="733425"/>
                  </a:lnTo>
                  <a:lnTo>
                    <a:pt x="133350" y="771525"/>
                  </a:lnTo>
                  <a:lnTo>
                    <a:pt x="400050" y="45720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5" name="Graphic 4">
              <a:extLst>
                <a:ext uri="{FF2B5EF4-FFF2-40B4-BE49-F238E27FC236}">
                  <a16:creationId xmlns:a16="http://schemas.microsoft.com/office/drawing/2014/main" id="{17AD7DA2-1C8D-069A-D96F-FDE4333DE304}"/>
                </a:ext>
              </a:extLst>
            </p:cNvPr>
            <p:cNvGrpSpPr/>
            <p:nvPr/>
          </p:nvGrpSpPr>
          <p:grpSpPr>
            <a:xfrm>
              <a:off x="2901064" y="3739290"/>
              <a:ext cx="688194" cy="687552"/>
              <a:chOff x="7801474" y="2855717"/>
              <a:chExt cx="362309" cy="361971"/>
            </a:xfrm>
            <a:solidFill>
              <a:srgbClr val="3899AA"/>
            </a:solidFill>
          </p:grpSpPr>
          <p:sp>
            <p:nvSpPr>
              <p:cNvPr id="36" name="Graphic 4">
                <a:extLst>
                  <a:ext uri="{FF2B5EF4-FFF2-40B4-BE49-F238E27FC236}">
                    <a16:creationId xmlns:a16="http://schemas.microsoft.com/office/drawing/2014/main" id="{B0651ECE-8AF9-7471-C819-6E382B39702D}"/>
                  </a:ext>
                </a:extLst>
              </p:cNvPr>
              <p:cNvSpPr/>
              <p:nvPr/>
            </p:nvSpPr>
            <p:spPr>
              <a:xfrm>
                <a:off x="7801474" y="2855717"/>
                <a:ext cx="362309" cy="361971"/>
              </a:xfrm>
              <a:custGeom>
                <a:avLst/>
                <a:gdLst>
                  <a:gd name="connsiteX0" fmla="*/ 181474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09 w 362309"/>
                  <a:gd name="connsiteY3" fmla="*/ 181305 h 361971"/>
                  <a:gd name="connsiteX4" fmla="*/ 362309 w 362309"/>
                  <a:gd name="connsiteY4" fmla="*/ 181305 h 361971"/>
                  <a:gd name="connsiteX5" fmla="*/ 181474 w 362309"/>
                  <a:gd name="connsiteY5" fmla="*/ 0 h 361971"/>
                  <a:gd name="connsiteX6" fmla="*/ 181474 w 362309"/>
                  <a:gd name="connsiteY6" fmla="*/ 349204 h 361971"/>
                  <a:gd name="connsiteX7" fmla="*/ 12780 w 362309"/>
                  <a:gd name="connsiteY7" fmla="*/ 181305 h 361971"/>
                  <a:gd name="connsiteX8" fmla="*/ 180835 w 362309"/>
                  <a:gd name="connsiteY8" fmla="*/ 12768 h 361971"/>
                  <a:gd name="connsiteX9" fmla="*/ 349529 w 362309"/>
                  <a:gd name="connsiteY9" fmla="*/ 180667 h 361971"/>
                  <a:gd name="connsiteX10" fmla="*/ 349529 w 362309"/>
                  <a:gd name="connsiteY10" fmla="*/ 180667 h 361971"/>
                  <a:gd name="connsiteX11" fmla="*/ 181474 w 362309"/>
                  <a:gd name="connsiteY11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1971">
                    <a:moveTo>
                      <a:pt x="181474" y="0"/>
                    </a:moveTo>
                    <a:cubicBezTo>
                      <a:pt x="81152" y="0"/>
                      <a:pt x="0" y="81076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1157" y="361972"/>
                      <a:pt x="362309" y="280895"/>
                      <a:pt x="362309" y="181305"/>
                    </a:cubicBezTo>
                    <a:cubicBezTo>
                      <a:pt x="362309" y="181305"/>
                      <a:pt x="362309" y="181305"/>
                      <a:pt x="362309" y="181305"/>
                    </a:cubicBezTo>
                    <a:cubicBezTo>
                      <a:pt x="362309" y="81076"/>
                      <a:pt x="281157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099"/>
                      <a:pt x="88181" y="12768"/>
                      <a:pt x="180835" y="12768"/>
                    </a:cubicBezTo>
                    <a:cubicBezTo>
                      <a:pt x="274128" y="12768"/>
                      <a:pt x="349529" y="88099"/>
                      <a:pt x="349529" y="180667"/>
                    </a:cubicBezTo>
                    <a:cubicBezTo>
                      <a:pt x="349529" y="180667"/>
                      <a:pt x="349529" y="180667"/>
                      <a:pt x="349529" y="180667"/>
                    </a:cubicBezTo>
                    <a:cubicBezTo>
                      <a:pt x="349529" y="273234"/>
                      <a:pt x="274128" y="348565"/>
                      <a:pt x="181474" y="349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Graphic 4">
                <a:extLst>
                  <a:ext uri="{FF2B5EF4-FFF2-40B4-BE49-F238E27FC236}">
                    <a16:creationId xmlns:a16="http://schemas.microsoft.com/office/drawing/2014/main" id="{13027AD3-63A5-9381-0F6C-51E18C1E5BBE}"/>
                  </a:ext>
                </a:extLst>
              </p:cNvPr>
              <p:cNvSpPr/>
              <p:nvPr/>
            </p:nvSpPr>
            <p:spPr>
              <a:xfrm>
                <a:off x="7922244" y="2968714"/>
                <a:ext cx="51119" cy="51071"/>
              </a:xfrm>
              <a:custGeom>
                <a:avLst/>
                <a:gdLst>
                  <a:gd name="connsiteX0" fmla="*/ 25560 w 51119"/>
                  <a:gd name="connsiteY0" fmla="*/ 51072 h 51071"/>
                  <a:gd name="connsiteX1" fmla="*/ 51119 w 51119"/>
                  <a:gd name="connsiteY1" fmla="*/ 25536 h 51071"/>
                  <a:gd name="connsiteX2" fmla="*/ 25560 w 51119"/>
                  <a:gd name="connsiteY2" fmla="*/ 0 h 51071"/>
                  <a:gd name="connsiteX3" fmla="*/ 0 w 51119"/>
                  <a:gd name="connsiteY3" fmla="*/ 25536 h 51071"/>
                  <a:gd name="connsiteX4" fmla="*/ 25560 w 51119"/>
                  <a:gd name="connsiteY4" fmla="*/ 51072 h 51071"/>
                  <a:gd name="connsiteX5" fmla="*/ 25560 w 51119"/>
                  <a:gd name="connsiteY5" fmla="*/ 12130 h 51071"/>
                  <a:gd name="connsiteX6" fmla="*/ 38978 w 51119"/>
                  <a:gd name="connsiteY6" fmla="*/ 24897 h 51071"/>
                  <a:gd name="connsiteX7" fmla="*/ 26199 w 51119"/>
                  <a:gd name="connsiteY7" fmla="*/ 38304 h 51071"/>
                  <a:gd name="connsiteX8" fmla="*/ 12780 w 51119"/>
                  <a:gd name="connsiteY8" fmla="*/ 25536 h 51071"/>
                  <a:gd name="connsiteX9" fmla="*/ 12780 w 51119"/>
                  <a:gd name="connsiteY9" fmla="*/ 25536 h 51071"/>
                  <a:gd name="connsiteX10" fmla="*/ 25560 w 51119"/>
                  <a:gd name="connsiteY10" fmla="*/ 12130 h 51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1119" h="51071">
                    <a:moveTo>
                      <a:pt x="25560" y="51072"/>
                    </a:moveTo>
                    <a:cubicBezTo>
                      <a:pt x="39617" y="51072"/>
                      <a:pt x="51119" y="39581"/>
                      <a:pt x="51119" y="25536"/>
                    </a:cubicBezTo>
                    <a:cubicBezTo>
                      <a:pt x="51119" y="11491"/>
                      <a:pt x="39617" y="0"/>
                      <a:pt x="25560" y="0"/>
                    </a:cubicBezTo>
                    <a:cubicBezTo>
                      <a:pt x="11501" y="0"/>
                      <a:pt x="0" y="11491"/>
                      <a:pt x="0" y="25536"/>
                    </a:cubicBezTo>
                    <a:cubicBezTo>
                      <a:pt x="0" y="39581"/>
                      <a:pt x="11501" y="51072"/>
                      <a:pt x="25560" y="51072"/>
                    </a:cubicBezTo>
                    <a:close/>
                    <a:moveTo>
                      <a:pt x="25560" y="12130"/>
                    </a:moveTo>
                    <a:cubicBezTo>
                      <a:pt x="32589" y="12130"/>
                      <a:pt x="38978" y="17875"/>
                      <a:pt x="38978" y="24897"/>
                    </a:cubicBezTo>
                    <a:cubicBezTo>
                      <a:pt x="38978" y="31920"/>
                      <a:pt x="33227" y="38304"/>
                      <a:pt x="26199" y="38304"/>
                    </a:cubicBezTo>
                    <a:cubicBezTo>
                      <a:pt x="19170" y="38304"/>
                      <a:pt x="12780" y="32558"/>
                      <a:pt x="12780" y="25536"/>
                    </a:cubicBezTo>
                    <a:cubicBezTo>
                      <a:pt x="12780" y="25536"/>
                      <a:pt x="12780" y="25536"/>
                      <a:pt x="12780" y="25536"/>
                    </a:cubicBezTo>
                    <a:cubicBezTo>
                      <a:pt x="12780" y="17875"/>
                      <a:pt x="18530" y="12130"/>
                      <a:pt x="25560" y="1213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Graphic 4">
                <a:extLst>
                  <a:ext uri="{FF2B5EF4-FFF2-40B4-BE49-F238E27FC236}">
                    <a16:creationId xmlns:a16="http://schemas.microsoft.com/office/drawing/2014/main" id="{50E4E761-925D-F271-B768-E0D88B0DA9E4}"/>
                  </a:ext>
                </a:extLst>
              </p:cNvPr>
              <p:cNvSpPr/>
              <p:nvPr/>
            </p:nvSpPr>
            <p:spPr>
              <a:xfrm>
                <a:off x="8005952" y="2969327"/>
                <a:ext cx="50506" cy="50458"/>
              </a:xfrm>
              <a:custGeom>
                <a:avLst/>
                <a:gdLst>
                  <a:gd name="connsiteX0" fmla="*/ 25560 w 50506"/>
                  <a:gd name="connsiteY0" fmla="*/ 50459 h 50458"/>
                  <a:gd name="connsiteX1" fmla="*/ 50481 w 50506"/>
                  <a:gd name="connsiteY1" fmla="*/ 24923 h 50458"/>
                  <a:gd name="connsiteX2" fmla="*/ 24921 w 50506"/>
                  <a:gd name="connsiteY2" fmla="*/ 25 h 50458"/>
                  <a:gd name="connsiteX3" fmla="*/ 0 w 50506"/>
                  <a:gd name="connsiteY3" fmla="*/ 25561 h 50458"/>
                  <a:gd name="connsiteX4" fmla="*/ 25560 w 50506"/>
                  <a:gd name="connsiteY4" fmla="*/ 50459 h 50458"/>
                  <a:gd name="connsiteX5" fmla="*/ 25560 w 50506"/>
                  <a:gd name="connsiteY5" fmla="*/ 11516 h 50458"/>
                  <a:gd name="connsiteX6" fmla="*/ 38340 w 50506"/>
                  <a:gd name="connsiteY6" fmla="*/ 24923 h 50458"/>
                  <a:gd name="connsiteX7" fmla="*/ 24921 w 50506"/>
                  <a:gd name="connsiteY7" fmla="*/ 37691 h 50458"/>
                  <a:gd name="connsiteX8" fmla="*/ 12141 w 50506"/>
                  <a:gd name="connsiteY8" fmla="*/ 24284 h 50458"/>
                  <a:gd name="connsiteX9" fmla="*/ 25560 w 50506"/>
                  <a:gd name="connsiteY9" fmla="*/ 11516 h 50458"/>
                  <a:gd name="connsiteX10" fmla="*/ 25560 w 50506"/>
                  <a:gd name="connsiteY10" fmla="*/ 11516 h 5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0506" h="50458">
                    <a:moveTo>
                      <a:pt x="25560" y="50459"/>
                    </a:moveTo>
                    <a:cubicBezTo>
                      <a:pt x="39617" y="50459"/>
                      <a:pt x="51119" y="38968"/>
                      <a:pt x="50481" y="24923"/>
                    </a:cubicBezTo>
                    <a:cubicBezTo>
                      <a:pt x="50481" y="10878"/>
                      <a:pt x="38978" y="-613"/>
                      <a:pt x="24921" y="25"/>
                    </a:cubicBezTo>
                    <a:cubicBezTo>
                      <a:pt x="10863" y="25"/>
                      <a:pt x="0" y="11516"/>
                      <a:pt x="0" y="25561"/>
                    </a:cubicBezTo>
                    <a:cubicBezTo>
                      <a:pt x="0" y="38968"/>
                      <a:pt x="11501" y="50459"/>
                      <a:pt x="25560" y="50459"/>
                    </a:cubicBezTo>
                    <a:close/>
                    <a:moveTo>
                      <a:pt x="25560" y="11516"/>
                    </a:moveTo>
                    <a:cubicBezTo>
                      <a:pt x="32589" y="11516"/>
                      <a:pt x="38340" y="17262"/>
                      <a:pt x="38340" y="24923"/>
                    </a:cubicBezTo>
                    <a:cubicBezTo>
                      <a:pt x="38340" y="32584"/>
                      <a:pt x="32589" y="37691"/>
                      <a:pt x="24921" y="37691"/>
                    </a:cubicBezTo>
                    <a:cubicBezTo>
                      <a:pt x="17253" y="37691"/>
                      <a:pt x="12141" y="31945"/>
                      <a:pt x="12141" y="24284"/>
                    </a:cubicBezTo>
                    <a:cubicBezTo>
                      <a:pt x="12141" y="16624"/>
                      <a:pt x="18531" y="11516"/>
                      <a:pt x="25560" y="11516"/>
                    </a:cubicBezTo>
                    <a:lnTo>
                      <a:pt x="25560" y="1151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Graphic 4">
                <a:extLst>
                  <a:ext uri="{FF2B5EF4-FFF2-40B4-BE49-F238E27FC236}">
                    <a16:creationId xmlns:a16="http://schemas.microsoft.com/office/drawing/2014/main" id="{1AED7817-AB10-FC51-3941-41864A06052E}"/>
                  </a:ext>
                </a:extLst>
              </p:cNvPr>
              <p:cNvSpPr/>
              <p:nvPr/>
            </p:nvSpPr>
            <p:spPr>
              <a:xfrm>
                <a:off x="7938219" y="3033192"/>
                <a:ext cx="103516" cy="12767"/>
              </a:xfrm>
              <a:custGeom>
                <a:avLst/>
                <a:gdLst>
                  <a:gd name="connsiteX0" fmla="*/ 97127 w 103516"/>
                  <a:gd name="connsiteY0" fmla="*/ 0 h 12767"/>
                  <a:gd name="connsiteX1" fmla="*/ 6390 w 103516"/>
                  <a:gd name="connsiteY1" fmla="*/ 0 h 12767"/>
                  <a:gd name="connsiteX2" fmla="*/ 0 w 103516"/>
                  <a:gd name="connsiteY2" fmla="*/ 6384 h 12767"/>
                  <a:gd name="connsiteX3" fmla="*/ 6390 w 103516"/>
                  <a:gd name="connsiteY3" fmla="*/ 12768 h 12767"/>
                  <a:gd name="connsiteX4" fmla="*/ 97127 w 103516"/>
                  <a:gd name="connsiteY4" fmla="*/ 12768 h 12767"/>
                  <a:gd name="connsiteX5" fmla="*/ 103517 w 103516"/>
                  <a:gd name="connsiteY5" fmla="*/ 6384 h 12767"/>
                  <a:gd name="connsiteX6" fmla="*/ 97127 w 103516"/>
                  <a:gd name="connsiteY6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516" h="12767">
                    <a:moveTo>
                      <a:pt x="97127" y="0"/>
                    </a:moveTo>
                    <a:lnTo>
                      <a:pt x="6390" y="0"/>
                    </a:lnTo>
                    <a:cubicBezTo>
                      <a:pt x="2555" y="0"/>
                      <a:pt x="0" y="2554"/>
                      <a:pt x="0" y="6384"/>
                    </a:cubicBezTo>
                    <a:cubicBezTo>
                      <a:pt x="0" y="10214"/>
                      <a:pt x="2555" y="12768"/>
                      <a:pt x="6390" y="12768"/>
                    </a:cubicBezTo>
                    <a:lnTo>
                      <a:pt x="97127" y="12768"/>
                    </a:lnTo>
                    <a:cubicBezTo>
                      <a:pt x="100961" y="12768"/>
                      <a:pt x="103517" y="10214"/>
                      <a:pt x="103517" y="6384"/>
                    </a:cubicBezTo>
                    <a:cubicBezTo>
                      <a:pt x="103517" y="2554"/>
                      <a:pt x="100322" y="0"/>
                      <a:pt x="97127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Graphic 4">
                <a:extLst>
                  <a:ext uri="{FF2B5EF4-FFF2-40B4-BE49-F238E27FC236}">
                    <a16:creationId xmlns:a16="http://schemas.microsoft.com/office/drawing/2014/main" id="{2485FD6D-A761-A7B6-ABC5-81DAAA1846D9}"/>
                  </a:ext>
                </a:extLst>
              </p:cNvPr>
              <p:cNvSpPr/>
              <p:nvPr/>
            </p:nvSpPr>
            <p:spPr>
              <a:xfrm>
                <a:off x="7936940" y="3110826"/>
                <a:ext cx="12779" cy="12379"/>
              </a:xfrm>
              <a:custGeom>
                <a:avLst/>
                <a:gdLst>
                  <a:gd name="connsiteX0" fmla="*/ 5751 w 12779"/>
                  <a:gd name="connsiteY0" fmla="*/ 250 h 12379"/>
                  <a:gd name="connsiteX1" fmla="*/ 4473 w 12779"/>
                  <a:gd name="connsiteY1" fmla="*/ 250 h 12379"/>
                  <a:gd name="connsiteX2" fmla="*/ 3195 w 12779"/>
                  <a:gd name="connsiteY2" fmla="*/ 889 h 12379"/>
                  <a:gd name="connsiteX3" fmla="*/ 1917 w 12779"/>
                  <a:gd name="connsiteY3" fmla="*/ 1527 h 12379"/>
                  <a:gd name="connsiteX4" fmla="*/ 0 w 12779"/>
                  <a:gd name="connsiteY4" fmla="*/ 5996 h 12379"/>
                  <a:gd name="connsiteX5" fmla="*/ 639 w 12779"/>
                  <a:gd name="connsiteY5" fmla="*/ 8550 h 12379"/>
                  <a:gd name="connsiteX6" fmla="*/ 1917 w 12779"/>
                  <a:gd name="connsiteY6" fmla="*/ 10465 h 12379"/>
                  <a:gd name="connsiteX7" fmla="*/ 10863 w 12779"/>
                  <a:gd name="connsiteY7" fmla="*/ 10465 h 12379"/>
                  <a:gd name="connsiteX8" fmla="*/ 10863 w 12779"/>
                  <a:gd name="connsiteY8" fmla="*/ 10465 h 12379"/>
                  <a:gd name="connsiteX9" fmla="*/ 12141 w 12779"/>
                  <a:gd name="connsiteY9" fmla="*/ 8550 h 12379"/>
                  <a:gd name="connsiteX10" fmla="*/ 12780 w 12779"/>
                  <a:gd name="connsiteY10" fmla="*/ 5996 h 12379"/>
                  <a:gd name="connsiteX11" fmla="*/ 10863 w 12779"/>
                  <a:gd name="connsiteY11" fmla="*/ 1527 h 12379"/>
                  <a:gd name="connsiteX12" fmla="*/ 5751 w 12779"/>
                  <a:gd name="connsiteY12" fmla="*/ 250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779" h="12379">
                    <a:moveTo>
                      <a:pt x="5751" y="250"/>
                    </a:moveTo>
                    <a:lnTo>
                      <a:pt x="4473" y="250"/>
                    </a:lnTo>
                    <a:lnTo>
                      <a:pt x="3195" y="889"/>
                    </a:lnTo>
                    <a:cubicBezTo>
                      <a:pt x="2556" y="889"/>
                      <a:pt x="2556" y="1527"/>
                      <a:pt x="1917" y="1527"/>
                    </a:cubicBezTo>
                    <a:cubicBezTo>
                      <a:pt x="639" y="2804"/>
                      <a:pt x="0" y="4081"/>
                      <a:pt x="0" y="5996"/>
                    </a:cubicBezTo>
                    <a:cubicBezTo>
                      <a:pt x="0" y="6634"/>
                      <a:pt x="0" y="7911"/>
                      <a:pt x="639" y="8550"/>
                    </a:cubicBezTo>
                    <a:cubicBezTo>
                      <a:pt x="1278" y="9188"/>
                      <a:pt x="1278" y="9826"/>
                      <a:pt x="1917" y="10465"/>
                    </a:cubicBezTo>
                    <a:cubicBezTo>
                      <a:pt x="4473" y="13018"/>
                      <a:pt x="8307" y="13018"/>
                      <a:pt x="10863" y="10465"/>
                    </a:cubicBezTo>
                    <a:cubicBezTo>
                      <a:pt x="10863" y="10465"/>
                      <a:pt x="10863" y="10465"/>
                      <a:pt x="10863" y="10465"/>
                    </a:cubicBezTo>
                    <a:cubicBezTo>
                      <a:pt x="11502" y="9826"/>
                      <a:pt x="12141" y="9188"/>
                      <a:pt x="12141" y="8550"/>
                    </a:cubicBezTo>
                    <a:cubicBezTo>
                      <a:pt x="12780" y="7911"/>
                      <a:pt x="12780" y="7273"/>
                      <a:pt x="12780" y="5996"/>
                    </a:cubicBezTo>
                    <a:cubicBezTo>
                      <a:pt x="12780" y="4081"/>
                      <a:pt x="12141" y="2804"/>
                      <a:pt x="10863" y="1527"/>
                    </a:cubicBezTo>
                    <a:cubicBezTo>
                      <a:pt x="10224" y="250"/>
                      <a:pt x="7668" y="-388"/>
                      <a:pt x="5751" y="25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Graphic 4">
                <a:extLst>
                  <a:ext uri="{FF2B5EF4-FFF2-40B4-BE49-F238E27FC236}">
                    <a16:creationId xmlns:a16="http://schemas.microsoft.com/office/drawing/2014/main" id="{01AF3946-8B52-512A-5570-83C720878396}"/>
                  </a:ext>
                </a:extLst>
              </p:cNvPr>
              <p:cNvSpPr/>
              <p:nvPr/>
            </p:nvSpPr>
            <p:spPr>
              <a:xfrm>
                <a:off x="7982948" y="3111077"/>
                <a:ext cx="12779" cy="12767"/>
              </a:xfrm>
              <a:custGeom>
                <a:avLst/>
                <a:gdLst>
                  <a:gd name="connsiteX0" fmla="*/ 12780 w 12779"/>
                  <a:gd name="connsiteY0" fmla="*/ 6384 h 12767"/>
                  <a:gd name="connsiteX1" fmla="*/ 6390 w 12779"/>
                  <a:gd name="connsiteY1" fmla="*/ 12768 h 12767"/>
                  <a:gd name="connsiteX2" fmla="*/ 0 w 12779"/>
                  <a:gd name="connsiteY2" fmla="*/ 6384 h 12767"/>
                  <a:gd name="connsiteX3" fmla="*/ 6390 w 12779"/>
                  <a:gd name="connsiteY3" fmla="*/ 0 h 12767"/>
                  <a:gd name="connsiteX4" fmla="*/ 12780 w 12779"/>
                  <a:gd name="connsiteY4" fmla="*/ 6384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79" h="12767">
                    <a:moveTo>
                      <a:pt x="12780" y="6384"/>
                    </a:moveTo>
                    <a:cubicBezTo>
                      <a:pt x="12780" y="9910"/>
                      <a:pt x="9919" y="12768"/>
                      <a:pt x="6390" y="12768"/>
                    </a:cubicBezTo>
                    <a:cubicBezTo>
                      <a:pt x="2861" y="12768"/>
                      <a:pt x="0" y="9910"/>
                      <a:pt x="0" y="6384"/>
                    </a:cubicBezTo>
                    <a:cubicBezTo>
                      <a:pt x="0" y="2858"/>
                      <a:pt x="2861" y="0"/>
                      <a:pt x="6390" y="0"/>
                    </a:cubicBezTo>
                    <a:cubicBezTo>
                      <a:pt x="9919" y="0"/>
                      <a:pt x="12780" y="2858"/>
                      <a:pt x="12780" y="638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Graphic 4">
                <a:extLst>
                  <a:ext uri="{FF2B5EF4-FFF2-40B4-BE49-F238E27FC236}">
                    <a16:creationId xmlns:a16="http://schemas.microsoft.com/office/drawing/2014/main" id="{4B34FE4C-A8C3-4C10-9FBE-B87F9291FD8C}"/>
                  </a:ext>
                </a:extLst>
              </p:cNvPr>
              <p:cNvSpPr/>
              <p:nvPr/>
            </p:nvSpPr>
            <p:spPr>
              <a:xfrm>
                <a:off x="8028317" y="3110956"/>
                <a:ext cx="12779" cy="12914"/>
              </a:xfrm>
              <a:custGeom>
                <a:avLst/>
                <a:gdLst>
                  <a:gd name="connsiteX0" fmla="*/ 10224 w 12779"/>
                  <a:gd name="connsiteY0" fmla="*/ 759 h 12914"/>
                  <a:gd name="connsiteX1" fmla="*/ 8946 w 12779"/>
                  <a:gd name="connsiteY1" fmla="*/ 121 h 12914"/>
                  <a:gd name="connsiteX2" fmla="*/ 7668 w 12779"/>
                  <a:gd name="connsiteY2" fmla="*/ 121 h 12914"/>
                  <a:gd name="connsiteX3" fmla="*/ 0 w 12779"/>
                  <a:gd name="connsiteY3" fmla="*/ 5228 h 12914"/>
                  <a:gd name="connsiteX4" fmla="*/ 639 w 12779"/>
                  <a:gd name="connsiteY4" fmla="*/ 9059 h 12914"/>
                  <a:gd name="connsiteX5" fmla="*/ 1917 w 12779"/>
                  <a:gd name="connsiteY5" fmla="*/ 10974 h 12914"/>
                  <a:gd name="connsiteX6" fmla="*/ 8946 w 12779"/>
                  <a:gd name="connsiteY6" fmla="*/ 12251 h 12914"/>
                  <a:gd name="connsiteX7" fmla="*/ 10863 w 12779"/>
                  <a:gd name="connsiteY7" fmla="*/ 10974 h 12914"/>
                  <a:gd name="connsiteX8" fmla="*/ 12780 w 12779"/>
                  <a:gd name="connsiteY8" fmla="*/ 6505 h 12914"/>
                  <a:gd name="connsiteX9" fmla="*/ 10863 w 12779"/>
                  <a:gd name="connsiteY9" fmla="*/ 2036 h 12914"/>
                  <a:gd name="connsiteX10" fmla="*/ 10224 w 12779"/>
                  <a:gd name="connsiteY10" fmla="*/ 759 h 12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79" h="12914">
                    <a:moveTo>
                      <a:pt x="10224" y="759"/>
                    </a:moveTo>
                    <a:cubicBezTo>
                      <a:pt x="9585" y="759"/>
                      <a:pt x="9585" y="121"/>
                      <a:pt x="8946" y="121"/>
                    </a:cubicBezTo>
                    <a:lnTo>
                      <a:pt x="7668" y="121"/>
                    </a:lnTo>
                    <a:cubicBezTo>
                      <a:pt x="4473" y="-517"/>
                      <a:pt x="639" y="1398"/>
                      <a:pt x="0" y="5228"/>
                    </a:cubicBezTo>
                    <a:cubicBezTo>
                      <a:pt x="0" y="6505"/>
                      <a:pt x="0" y="7782"/>
                      <a:pt x="639" y="9059"/>
                    </a:cubicBezTo>
                    <a:cubicBezTo>
                      <a:pt x="1278" y="9697"/>
                      <a:pt x="1278" y="10335"/>
                      <a:pt x="1917" y="10974"/>
                    </a:cubicBezTo>
                    <a:cubicBezTo>
                      <a:pt x="3834" y="12889"/>
                      <a:pt x="6390" y="13527"/>
                      <a:pt x="8946" y="12251"/>
                    </a:cubicBezTo>
                    <a:cubicBezTo>
                      <a:pt x="9585" y="11612"/>
                      <a:pt x="10224" y="11612"/>
                      <a:pt x="10863" y="10974"/>
                    </a:cubicBezTo>
                    <a:cubicBezTo>
                      <a:pt x="12141" y="9697"/>
                      <a:pt x="12780" y="8420"/>
                      <a:pt x="12780" y="6505"/>
                    </a:cubicBezTo>
                    <a:cubicBezTo>
                      <a:pt x="12780" y="4590"/>
                      <a:pt x="12141" y="3313"/>
                      <a:pt x="10863" y="2036"/>
                    </a:cubicBezTo>
                    <a:cubicBezTo>
                      <a:pt x="10863" y="1398"/>
                      <a:pt x="10863" y="1398"/>
                      <a:pt x="10224" y="759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Graphic 4">
                <a:extLst>
                  <a:ext uri="{FF2B5EF4-FFF2-40B4-BE49-F238E27FC236}">
                    <a16:creationId xmlns:a16="http://schemas.microsoft.com/office/drawing/2014/main" id="{1BE735E8-2AA2-41C1-BB5B-022FB39C22AF}"/>
                  </a:ext>
                </a:extLst>
              </p:cNvPr>
              <p:cNvSpPr/>
              <p:nvPr/>
            </p:nvSpPr>
            <p:spPr>
              <a:xfrm>
                <a:off x="7892850" y="3075965"/>
                <a:ext cx="187864" cy="70862"/>
              </a:xfrm>
              <a:custGeom>
                <a:avLst/>
                <a:gdLst>
                  <a:gd name="connsiteX0" fmla="*/ 171251 w 187864"/>
                  <a:gd name="connsiteY0" fmla="*/ 0 h 70862"/>
                  <a:gd name="connsiteX1" fmla="*/ 16614 w 187864"/>
                  <a:gd name="connsiteY1" fmla="*/ 0 h 70862"/>
                  <a:gd name="connsiteX2" fmla="*/ 0 w 187864"/>
                  <a:gd name="connsiteY2" fmla="*/ 16598 h 70862"/>
                  <a:gd name="connsiteX3" fmla="*/ 0 w 187864"/>
                  <a:gd name="connsiteY3" fmla="*/ 63840 h 70862"/>
                  <a:gd name="connsiteX4" fmla="*/ 6390 w 187864"/>
                  <a:gd name="connsiteY4" fmla="*/ 70224 h 70862"/>
                  <a:gd name="connsiteX5" fmla="*/ 12780 w 187864"/>
                  <a:gd name="connsiteY5" fmla="*/ 63840 h 70862"/>
                  <a:gd name="connsiteX6" fmla="*/ 12780 w 187864"/>
                  <a:gd name="connsiteY6" fmla="*/ 16598 h 70862"/>
                  <a:gd name="connsiteX7" fmla="*/ 16614 w 187864"/>
                  <a:gd name="connsiteY7" fmla="*/ 12768 h 70862"/>
                  <a:gd name="connsiteX8" fmla="*/ 171251 w 187864"/>
                  <a:gd name="connsiteY8" fmla="*/ 12768 h 70862"/>
                  <a:gd name="connsiteX9" fmla="*/ 175084 w 187864"/>
                  <a:gd name="connsiteY9" fmla="*/ 16598 h 70862"/>
                  <a:gd name="connsiteX10" fmla="*/ 175084 w 187864"/>
                  <a:gd name="connsiteY10" fmla="*/ 64478 h 70862"/>
                  <a:gd name="connsiteX11" fmla="*/ 181474 w 187864"/>
                  <a:gd name="connsiteY11" fmla="*/ 70862 h 70862"/>
                  <a:gd name="connsiteX12" fmla="*/ 187864 w 187864"/>
                  <a:gd name="connsiteY12" fmla="*/ 64478 h 70862"/>
                  <a:gd name="connsiteX13" fmla="*/ 187864 w 187864"/>
                  <a:gd name="connsiteY13" fmla="*/ 16598 h 70862"/>
                  <a:gd name="connsiteX14" fmla="*/ 171251 w 187864"/>
                  <a:gd name="connsiteY14" fmla="*/ 0 h 70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864" h="70862">
                    <a:moveTo>
                      <a:pt x="171251" y="0"/>
                    </a:moveTo>
                    <a:lnTo>
                      <a:pt x="16614" y="0"/>
                    </a:lnTo>
                    <a:cubicBezTo>
                      <a:pt x="7668" y="0"/>
                      <a:pt x="0" y="7661"/>
                      <a:pt x="0" y="16598"/>
                    </a:cubicBezTo>
                    <a:lnTo>
                      <a:pt x="0" y="63840"/>
                    </a:lnTo>
                    <a:cubicBezTo>
                      <a:pt x="0" y="67670"/>
                      <a:pt x="2556" y="70224"/>
                      <a:pt x="6390" y="70224"/>
                    </a:cubicBezTo>
                    <a:cubicBezTo>
                      <a:pt x="10225" y="70224"/>
                      <a:pt x="12780" y="67670"/>
                      <a:pt x="12780" y="63840"/>
                    </a:cubicBezTo>
                    <a:lnTo>
                      <a:pt x="12780" y="16598"/>
                    </a:lnTo>
                    <a:cubicBezTo>
                      <a:pt x="12780" y="14683"/>
                      <a:pt x="14697" y="12768"/>
                      <a:pt x="16614" y="12768"/>
                    </a:cubicBezTo>
                    <a:lnTo>
                      <a:pt x="171251" y="12768"/>
                    </a:lnTo>
                    <a:cubicBezTo>
                      <a:pt x="173168" y="12768"/>
                      <a:pt x="175084" y="14683"/>
                      <a:pt x="175084" y="16598"/>
                    </a:cubicBezTo>
                    <a:lnTo>
                      <a:pt x="175084" y="64478"/>
                    </a:lnTo>
                    <a:cubicBezTo>
                      <a:pt x="175084" y="68308"/>
                      <a:pt x="177641" y="70862"/>
                      <a:pt x="181474" y="70862"/>
                    </a:cubicBezTo>
                    <a:cubicBezTo>
                      <a:pt x="185308" y="70862"/>
                      <a:pt x="187864" y="68308"/>
                      <a:pt x="187864" y="64478"/>
                    </a:cubicBezTo>
                    <a:lnTo>
                      <a:pt x="187864" y="16598"/>
                    </a:lnTo>
                    <a:cubicBezTo>
                      <a:pt x="187864" y="7022"/>
                      <a:pt x="180197" y="0"/>
                      <a:pt x="171251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Graphic 4">
                <a:extLst>
                  <a:ext uri="{FF2B5EF4-FFF2-40B4-BE49-F238E27FC236}">
                    <a16:creationId xmlns:a16="http://schemas.microsoft.com/office/drawing/2014/main" id="{1E8FEED6-B13F-A49E-E759-69791F4710A2}"/>
                  </a:ext>
                </a:extLst>
              </p:cNvPr>
              <p:cNvSpPr/>
              <p:nvPr/>
            </p:nvSpPr>
            <p:spPr>
              <a:xfrm>
                <a:off x="7873066" y="2938709"/>
                <a:ext cx="232136" cy="128956"/>
              </a:xfrm>
              <a:custGeom>
                <a:avLst/>
                <a:gdLst>
                  <a:gd name="connsiteX0" fmla="*/ 210204 w 232136"/>
                  <a:gd name="connsiteY0" fmla="*/ 40219 h 128956"/>
                  <a:gd name="connsiteX1" fmla="*/ 210204 w 232136"/>
                  <a:gd name="connsiteY1" fmla="*/ 6384 h 128956"/>
                  <a:gd name="connsiteX2" fmla="*/ 203814 w 232136"/>
                  <a:gd name="connsiteY2" fmla="*/ 0 h 128956"/>
                  <a:gd name="connsiteX3" fmla="*/ 28729 w 232136"/>
                  <a:gd name="connsiteY3" fmla="*/ 0 h 128956"/>
                  <a:gd name="connsiteX4" fmla="*/ 22339 w 232136"/>
                  <a:gd name="connsiteY4" fmla="*/ 6384 h 128956"/>
                  <a:gd name="connsiteX5" fmla="*/ 22339 w 232136"/>
                  <a:gd name="connsiteY5" fmla="*/ 39581 h 128956"/>
                  <a:gd name="connsiteX6" fmla="*/ 614 w 232136"/>
                  <a:gd name="connsiteY6" fmla="*/ 73416 h 128956"/>
                  <a:gd name="connsiteX7" fmla="*/ 22339 w 232136"/>
                  <a:gd name="connsiteY7" fmla="*/ 95121 h 128956"/>
                  <a:gd name="connsiteX8" fmla="*/ 22339 w 232136"/>
                  <a:gd name="connsiteY8" fmla="*/ 122572 h 128956"/>
                  <a:gd name="connsiteX9" fmla="*/ 28729 w 232136"/>
                  <a:gd name="connsiteY9" fmla="*/ 128956 h 128956"/>
                  <a:gd name="connsiteX10" fmla="*/ 203814 w 232136"/>
                  <a:gd name="connsiteY10" fmla="*/ 128956 h 128956"/>
                  <a:gd name="connsiteX11" fmla="*/ 210204 w 232136"/>
                  <a:gd name="connsiteY11" fmla="*/ 122572 h 128956"/>
                  <a:gd name="connsiteX12" fmla="*/ 210204 w 232136"/>
                  <a:gd name="connsiteY12" fmla="*/ 95760 h 128956"/>
                  <a:gd name="connsiteX13" fmla="*/ 231291 w 232136"/>
                  <a:gd name="connsiteY13" fmla="*/ 61925 h 128956"/>
                  <a:gd name="connsiteX14" fmla="*/ 210204 w 232136"/>
                  <a:gd name="connsiteY14" fmla="*/ 40219 h 128956"/>
                  <a:gd name="connsiteX15" fmla="*/ 210204 w 232136"/>
                  <a:gd name="connsiteY15" fmla="*/ 40219 h 128956"/>
                  <a:gd name="connsiteX16" fmla="*/ 12755 w 232136"/>
                  <a:gd name="connsiteY16" fmla="*/ 68308 h 128956"/>
                  <a:gd name="connsiteX17" fmla="*/ 22339 w 232136"/>
                  <a:gd name="connsiteY17" fmla="*/ 53625 h 128956"/>
                  <a:gd name="connsiteX18" fmla="*/ 22339 w 232136"/>
                  <a:gd name="connsiteY18" fmla="*/ 82353 h 128956"/>
                  <a:gd name="connsiteX19" fmla="*/ 12755 w 232136"/>
                  <a:gd name="connsiteY19" fmla="*/ 68308 h 128956"/>
                  <a:gd name="connsiteX20" fmla="*/ 12755 w 232136"/>
                  <a:gd name="connsiteY20" fmla="*/ 68308 h 128956"/>
                  <a:gd name="connsiteX21" fmla="*/ 197424 w 232136"/>
                  <a:gd name="connsiteY21" fmla="*/ 116827 h 128956"/>
                  <a:gd name="connsiteX22" fmla="*/ 35119 w 232136"/>
                  <a:gd name="connsiteY22" fmla="*/ 116827 h 128956"/>
                  <a:gd name="connsiteX23" fmla="*/ 35119 w 232136"/>
                  <a:gd name="connsiteY23" fmla="*/ 13406 h 128956"/>
                  <a:gd name="connsiteX24" fmla="*/ 197424 w 232136"/>
                  <a:gd name="connsiteY24" fmla="*/ 13406 h 128956"/>
                  <a:gd name="connsiteX25" fmla="*/ 197424 w 232136"/>
                  <a:gd name="connsiteY25" fmla="*/ 116827 h 128956"/>
                  <a:gd name="connsiteX26" fmla="*/ 210204 w 232136"/>
                  <a:gd name="connsiteY26" fmla="*/ 82992 h 128956"/>
                  <a:gd name="connsiteX27" fmla="*/ 210204 w 232136"/>
                  <a:gd name="connsiteY27" fmla="*/ 54264 h 128956"/>
                  <a:gd name="connsiteX28" fmla="*/ 217871 w 232136"/>
                  <a:gd name="connsiteY28" fmla="*/ 75331 h 128956"/>
                  <a:gd name="connsiteX29" fmla="*/ 210204 w 232136"/>
                  <a:gd name="connsiteY29" fmla="*/ 82992 h 12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2136" h="128956">
                    <a:moveTo>
                      <a:pt x="210204" y="40219"/>
                    </a:moveTo>
                    <a:lnTo>
                      <a:pt x="210204" y="6384"/>
                    </a:lnTo>
                    <a:cubicBezTo>
                      <a:pt x="210204" y="2554"/>
                      <a:pt x="207648" y="0"/>
                      <a:pt x="203814" y="0"/>
                    </a:cubicBezTo>
                    <a:lnTo>
                      <a:pt x="28729" y="0"/>
                    </a:lnTo>
                    <a:cubicBezTo>
                      <a:pt x="24896" y="0"/>
                      <a:pt x="22339" y="2554"/>
                      <a:pt x="22339" y="6384"/>
                    </a:cubicBezTo>
                    <a:lnTo>
                      <a:pt x="22339" y="39581"/>
                    </a:lnTo>
                    <a:cubicBezTo>
                      <a:pt x="7003" y="42773"/>
                      <a:pt x="-2581" y="58094"/>
                      <a:pt x="614" y="73416"/>
                    </a:cubicBezTo>
                    <a:cubicBezTo>
                      <a:pt x="3170" y="84268"/>
                      <a:pt x="11477" y="92568"/>
                      <a:pt x="22339" y="95121"/>
                    </a:cubicBezTo>
                    <a:lnTo>
                      <a:pt x="22339" y="122572"/>
                    </a:lnTo>
                    <a:cubicBezTo>
                      <a:pt x="22339" y="126403"/>
                      <a:pt x="24896" y="128956"/>
                      <a:pt x="28729" y="128956"/>
                    </a:cubicBezTo>
                    <a:lnTo>
                      <a:pt x="203814" y="128956"/>
                    </a:lnTo>
                    <a:cubicBezTo>
                      <a:pt x="207648" y="128956"/>
                      <a:pt x="210204" y="126403"/>
                      <a:pt x="210204" y="122572"/>
                    </a:cubicBezTo>
                    <a:lnTo>
                      <a:pt x="210204" y="95760"/>
                    </a:lnTo>
                    <a:cubicBezTo>
                      <a:pt x="225540" y="91929"/>
                      <a:pt x="235125" y="77246"/>
                      <a:pt x="231291" y="61925"/>
                    </a:cubicBezTo>
                    <a:cubicBezTo>
                      <a:pt x="228735" y="51710"/>
                      <a:pt x="221066" y="43411"/>
                      <a:pt x="210204" y="40219"/>
                    </a:cubicBezTo>
                    <a:lnTo>
                      <a:pt x="210204" y="40219"/>
                    </a:lnTo>
                    <a:close/>
                    <a:moveTo>
                      <a:pt x="12755" y="68308"/>
                    </a:moveTo>
                    <a:cubicBezTo>
                      <a:pt x="12755" y="61925"/>
                      <a:pt x="16588" y="56179"/>
                      <a:pt x="22339" y="53625"/>
                    </a:cubicBezTo>
                    <a:lnTo>
                      <a:pt x="22339" y="82353"/>
                    </a:lnTo>
                    <a:cubicBezTo>
                      <a:pt x="16588" y="79800"/>
                      <a:pt x="13393" y="74692"/>
                      <a:pt x="12755" y="68308"/>
                    </a:cubicBezTo>
                    <a:lnTo>
                      <a:pt x="12755" y="68308"/>
                    </a:lnTo>
                    <a:close/>
                    <a:moveTo>
                      <a:pt x="197424" y="116827"/>
                    </a:moveTo>
                    <a:lnTo>
                      <a:pt x="35119" y="116827"/>
                    </a:lnTo>
                    <a:lnTo>
                      <a:pt x="35119" y="13406"/>
                    </a:lnTo>
                    <a:lnTo>
                      <a:pt x="197424" y="13406"/>
                    </a:lnTo>
                    <a:lnTo>
                      <a:pt x="197424" y="116827"/>
                    </a:lnTo>
                    <a:close/>
                    <a:moveTo>
                      <a:pt x="210204" y="82992"/>
                    </a:moveTo>
                    <a:lnTo>
                      <a:pt x="210204" y="54264"/>
                    </a:lnTo>
                    <a:cubicBezTo>
                      <a:pt x="217871" y="58094"/>
                      <a:pt x="221706" y="67032"/>
                      <a:pt x="217871" y="75331"/>
                    </a:cubicBezTo>
                    <a:cubicBezTo>
                      <a:pt x="216594" y="78523"/>
                      <a:pt x="213399" y="81076"/>
                      <a:pt x="210204" y="82992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5" name="Graphic 4">
              <a:extLst>
                <a:ext uri="{FF2B5EF4-FFF2-40B4-BE49-F238E27FC236}">
                  <a16:creationId xmlns:a16="http://schemas.microsoft.com/office/drawing/2014/main" id="{0F11278C-5374-C83D-C17B-7DFEB02FC25C}"/>
                </a:ext>
              </a:extLst>
            </p:cNvPr>
            <p:cNvGrpSpPr/>
            <p:nvPr/>
          </p:nvGrpSpPr>
          <p:grpSpPr>
            <a:xfrm>
              <a:off x="6977160" y="1498814"/>
              <a:ext cx="460179" cy="459744"/>
              <a:chOff x="5708130" y="3824168"/>
              <a:chExt cx="362313" cy="361971"/>
            </a:xfrm>
            <a:solidFill>
              <a:srgbClr val="3899AA"/>
            </a:solidFill>
          </p:grpSpPr>
          <p:sp>
            <p:nvSpPr>
              <p:cNvPr id="46" name="Graphic 4">
                <a:extLst>
                  <a:ext uri="{FF2B5EF4-FFF2-40B4-BE49-F238E27FC236}">
                    <a16:creationId xmlns:a16="http://schemas.microsoft.com/office/drawing/2014/main" id="{B4E76641-884D-E67B-DDD7-AC0690F14B92}"/>
                  </a:ext>
                </a:extLst>
              </p:cNvPr>
              <p:cNvSpPr/>
              <p:nvPr/>
            </p:nvSpPr>
            <p:spPr>
              <a:xfrm>
                <a:off x="5708130" y="3824168"/>
                <a:ext cx="362313" cy="361971"/>
              </a:xfrm>
              <a:custGeom>
                <a:avLst/>
                <a:gdLst>
                  <a:gd name="connsiteX0" fmla="*/ 181474 w 362313"/>
                  <a:gd name="connsiteY0" fmla="*/ 0 h 361971"/>
                  <a:gd name="connsiteX1" fmla="*/ 0 w 362313"/>
                  <a:gd name="connsiteY1" fmla="*/ 180667 h 361971"/>
                  <a:gd name="connsiteX2" fmla="*/ 180835 w 362313"/>
                  <a:gd name="connsiteY2" fmla="*/ 361971 h 361971"/>
                  <a:gd name="connsiteX3" fmla="*/ 362310 w 362313"/>
                  <a:gd name="connsiteY3" fmla="*/ 181305 h 361971"/>
                  <a:gd name="connsiteX4" fmla="*/ 362310 w 362313"/>
                  <a:gd name="connsiteY4" fmla="*/ 181305 h 361971"/>
                  <a:gd name="connsiteX5" fmla="*/ 181474 w 362313"/>
                  <a:gd name="connsiteY5" fmla="*/ 0 h 361971"/>
                  <a:gd name="connsiteX6" fmla="*/ 181474 w 362313"/>
                  <a:gd name="connsiteY6" fmla="*/ 349204 h 361971"/>
                  <a:gd name="connsiteX7" fmla="*/ 12780 w 362313"/>
                  <a:gd name="connsiteY7" fmla="*/ 181305 h 361971"/>
                  <a:gd name="connsiteX8" fmla="*/ 180835 w 362313"/>
                  <a:gd name="connsiteY8" fmla="*/ 12768 h 361971"/>
                  <a:gd name="connsiteX9" fmla="*/ 349530 w 362313"/>
                  <a:gd name="connsiteY9" fmla="*/ 180667 h 361971"/>
                  <a:gd name="connsiteX10" fmla="*/ 349530 w 362313"/>
                  <a:gd name="connsiteY10" fmla="*/ 180667 h 361971"/>
                  <a:gd name="connsiteX11" fmla="*/ 181474 w 362313"/>
                  <a:gd name="connsiteY11" fmla="*/ 349204 h 361971"/>
                  <a:gd name="connsiteX12" fmla="*/ 181474 w 362313"/>
                  <a:gd name="connsiteY12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2313" h="361971">
                    <a:moveTo>
                      <a:pt x="181474" y="0"/>
                    </a:moveTo>
                    <a:cubicBezTo>
                      <a:pt x="81152" y="0"/>
                      <a:pt x="0" y="81076"/>
                      <a:pt x="0" y="180667"/>
                    </a:cubicBezTo>
                    <a:cubicBezTo>
                      <a:pt x="0" y="280257"/>
                      <a:pt x="81152" y="361971"/>
                      <a:pt x="180835" y="361971"/>
                    </a:cubicBezTo>
                    <a:cubicBezTo>
                      <a:pt x="280518" y="361971"/>
                      <a:pt x="362310" y="280895"/>
                      <a:pt x="362310" y="181305"/>
                    </a:cubicBezTo>
                    <a:lnTo>
                      <a:pt x="362310" y="181305"/>
                    </a:lnTo>
                    <a:cubicBezTo>
                      <a:pt x="362948" y="81076"/>
                      <a:pt x="281796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737"/>
                      <a:pt x="88181" y="12768"/>
                      <a:pt x="180835" y="12768"/>
                    </a:cubicBezTo>
                    <a:cubicBezTo>
                      <a:pt x="274128" y="12768"/>
                      <a:pt x="349530" y="88099"/>
                      <a:pt x="349530" y="180667"/>
                    </a:cubicBezTo>
                    <a:lnTo>
                      <a:pt x="349530" y="180667"/>
                    </a:lnTo>
                    <a:cubicBezTo>
                      <a:pt x="349530" y="273873"/>
                      <a:pt x="274767" y="349204"/>
                      <a:pt x="181474" y="349204"/>
                    </a:cubicBezTo>
                    <a:lnTo>
                      <a:pt x="181474" y="349204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Graphic 4">
                <a:extLst>
                  <a:ext uri="{FF2B5EF4-FFF2-40B4-BE49-F238E27FC236}">
                    <a16:creationId xmlns:a16="http://schemas.microsoft.com/office/drawing/2014/main" id="{BB3DD990-92DD-89AC-DE17-1476BFA4A38A}"/>
                  </a:ext>
                </a:extLst>
              </p:cNvPr>
              <p:cNvSpPr/>
              <p:nvPr/>
            </p:nvSpPr>
            <p:spPr>
              <a:xfrm>
                <a:off x="5795672" y="3884177"/>
                <a:ext cx="200644" cy="212586"/>
              </a:xfrm>
              <a:custGeom>
                <a:avLst/>
                <a:gdLst>
                  <a:gd name="connsiteX0" fmla="*/ 162305 w 200644"/>
                  <a:gd name="connsiteY0" fmla="*/ 49157 h 212586"/>
                  <a:gd name="connsiteX1" fmla="*/ 122687 w 200644"/>
                  <a:gd name="connsiteY1" fmla="*/ 49157 h 212586"/>
                  <a:gd name="connsiteX2" fmla="*/ 125243 w 200644"/>
                  <a:gd name="connsiteY2" fmla="*/ 44050 h 212586"/>
                  <a:gd name="connsiteX3" fmla="*/ 133550 w 200644"/>
                  <a:gd name="connsiteY3" fmla="*/ 45327 h 212586"/>
                  <a:gd name="connsiteX4" fmla="*/ 156553 w 200644"/>
                  <a:gd name="connsiteY4" fmla="*/ 22983 h 212586"/>
                  <a:gd name="connsiteX5" fmla="*/ 134189 w 200644"/>
                  <a:gd name="connsiteY5" fmla="*/ 0 h 212586"/>
                  <a:gd name="connsiteX6" fmla="*/ 111185 w 200644"/>
                  <a:gd name="connsiteY6" fmla="*/ 22344 h 212586"/>
                  <a:gd name="connsiteX7" fmla="*/ 115658 w 200644"/>
                  <a:gd name="connsiteY7" fmla="*/ 36389 h 212586"/>
                  <a:gd name="connsiteX8" fmla="*/ 108629 w 200644"/>
                  <a:gd name="connsiteY8" fmla="*/ 49157 h 212586"/>
                  <a:gd name="connsiteX9" fmla="*/ 108629 w 200644"/>
                  <a:gd name="connsiteY9" fmla="*/ 49157 h 212586"/>
                  <a:gd name="connsiteX10" fmla="*/ 90737 w 200644"/>
                  <a:gd name="connsiteY10" fmla="*/ 49157 h 212586"/>
                  <a:gd name="connsiteX11" fmla="*/ 90737 w 200644"/>
                  <a:gd name="connsiteY11" fmla="*/ 49157 h 212586"/>
                  <a:gd name="connsiteX12" fmla="*/ 84347 w 200644"/>
                  <a:gd name="connsiteY12" fmla="*/ 37027 h 212586"/>
                  <a:gd name="connsiteX13" fmla="*/ 89459 w 200644"/>
                  <a:gd name="connsiteY13" fmla="*/ 22983 h 212586"/>
                  <a:gd name="connsiteX14" fmla="*/ 66456 w 200644"/>
                  <a:gd name="connsiteY14" fmla="*/ 0 h 212586"/>
                  <a:gd name="connsiteX15" fmla="*/ 43451 w 200644"/>
                  <a:gd name="connsiteY15" fmla="*/ 22983 h 212586"/>
                  <a:gd name="connsiteX16" fmla="*/ 66456 w 200644"/>
                  <a:gd name="connsiteY16" fmla="*/ 45965 h 212586"/>
                  <a:gd name="connsiteX17" fmla="*/ 66456 w 200644"/>
                  <a:gd name="connsiteY17" fmla="*/ 45965 h 212586"/>
                  <a:gd name="connsiteX18" fmla="*/ 74123 w 200644"/>
                  <a:gd name="connsiteY18" fmla="*/ 44688 h 212586"/>
                  <a:gd name="connsiteX19" fmla="*/ 76679 w 200644"/>
                  <a:gd name="connsiteY19" fmla="*/ 49795 h 212586"/>
                  <a:gd name="connsiteX20" fmla="*/ 37701 w 200644"/>
                  <a:gd name="connsiteY20" fmla="*/ 49795 h 212586"/>
                  <a:gd name="connsiteX21" fmla="*/ 0 w 200644"/>
                  <a:gd name="connsiteY21" fmla="*/ 87461 h 212586"/>
                  <a:gd name="connsiteX22" fmla="*/ 0 w 200644"/>
                  <a:gd name="connsiteY22" fmla="*/ 174921 h 212586"/>
                  <a:gd name="connsiteX23" fmla="*/ 37701 w 200644"/>
                  <a:gd name="connsiteY23" fmla="*/ 212587 h 212586"/>
                  <a:gd name="connsiteX24" fmla="*/ 162943 w 200644"/>
                  <a:gd name="connsiteY24" fmla="*/ 212587 h 212586"/>
                  <a:gd name="connsiteX25" fmla="*/ 200644 w 200644"/>
                  <a:gd name="connsiteY25" fmla="*/ 174921 h 212586"/>
                  <a:gd name="connsiteX26" fmla="*/ 200644 w 200644"/>
                  <a:gd name="connsiteY26" fmla="*/ 87461 h 212586"/>
                  <a:gd name="connsiteX27" fmla="*/ 162305 w 200644"/>
                  <a:gd name="connsiteY27" fmla="*/ 49157 h 212586"/>
                  <a:gd name="connsiteX28" fmla="*/ 162305 w 200644"/>
                  <a:gd name="connsiteY28" fmla="*/ 49157 h 212586"/>
                  <a:gd name="connsiteX29" fmla="*/ 133550 w 200644"/>
                  <a:gd name="connsiteY29" fmla="*/ 13407 h 212586"/>
                  <a:gd name="connsiteX30" fmla="*/ 143774 w 200644"/>
                  <a:gd name="connsiteY30" fmla="*/ 23621 h 212586"/>
                  <a:gd name="connsiteX31" fmla="*/ 133550 w 200644"/>
                  <a:gd name="connsiteY31" fmla="*/ 33835 h 212586"/>
                  <a:gd name="connsiteX32" fmla="*/ 123326 w 200644"/>
                  <a:gd name="connsiteY32" fmla="*/ 23621 h 212586"/>
                  <a:gd name="connsiteX33" fmla="*/ 123326 w 200644"/>
                  <a:gd name="connsiteY33" fmla="*/ 23621 h 212586"/>
                  <a:gd name="connsiteX34" fmla="*/ 133550 w 200644"/>
                  <a:gd name="connsiteY34" fmla="*/ 13407 h 212586"/>
                  <a:gd name="connsiteX35" fmla="*/ 55593 w 200644"/>
                  <a:gd name="connsiteY35" fmla="*/ 22983 h 212586"/>
                  <a:gd name="connsiteX36" fmla="*/ 65816 w 200644"/>
                  <a:gd name="connsiteY36" fmla="*/ 12768 h 212586"/>
                  <a:gd name="connsiteX37" fmla="*/ 76040 w 200644"/>
                  <a:gd name="connsiteY37" fmla="*/ 22983 h 212586"/>
                  <a:gd name="connsiteX38" fmla="*/ 65816 w 200644"/>
                  <a:gd name="connsiteY38" fmla="*/ 33197 h 212586"/>
                  <a:gd name="connsiteX39" fmla="*/ 65816 w 200644"/>
                  <a:gd name="connsiteY39" fmla="*/ 33197 h 212586"/>
                  <a:gd name="connsiteX40" fmla="*/ 55593 w 200644"/>
                  <a:gd name="connsiteY40" fmla="*/ 22983 h 212586"/>
                  <a:gd name="connsiteX41" fmla="*/ 186586 w 200644"/>
                  <a:gd name="connsiteY41" fmla="*/ 174283 h 212586"/>
                  <a:gd name="connsiteX42" fmla="*/ 161665 w 200644"/>
                  <a:gd name="connsiteY42" fmla="*/ 199180 h 212586"/>
                  <a:gd name="connsiteX43" fmla="*/ 36423 w 200644"/>
                  <a:gd name="connsiteY43" fmla="*/ 199180 h 212586"/>
                  <a:gd name="connsiteX44" fmla="*/ 11502 w 200644"/>
                  <a:gd name="connsiteY44" fmla="*/ 174283 h 212586"/>
                  <a:gd name="connsiteX45" fmla="*/ 11502 w 200644"/>
                  <a:gd name="connsiteY45" fmla="*/ 86822 h 212586"/>
                  <a:gd name="connsiteX46" fmla="*/ 36423 w 200644"/>
                  <a:gd name="connsiteY46" fmla="*/ 61925 h 212586"/>
                  <a:gd name="connsiteX47" fmla="*/ 161665 w 200644"/>
                  <a:gd name="connsiteY47" fmla="*/ 61925 h 212586"/>
                  <a:gd name="connsiteX48" fmla="*/ 186586 w 200644"/>
                  <a:gd name="connsiteY48" fmla="*/ 86822 h 212586"/>
                  <a:gd name="connsiteX49" fmla="*/ 186586 w 200644"/>
                  <a:gd name="connsiteY49" fmla="*/ 174283 h 21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00644" h="212586">
                    <a:moveTo>
                      <a:pt x="162305" y="49157"/>
                    </a:moveTo>
                    <a:lnTo>
                      <a:pt x="122687" y="49157"/>
                    </a:lnTo>
                    <a:lnTo>
                      <a:pt x="125243" y="44050"/>
                    </a:lnTo>
                    <a:cubicBezTo>
                      <a:pt x="127799" y="45327"/>
                      <a:pt x="130355" y="45327"/>
                      <a:pt x="133550" y="45327"/>
                    </a:cubicBezTo>
                    <a:cubicBezTo>
                      <a:pt x="146330" y="45327"/>
                      <a:pt x="156553" y="35112"/>
                      <a:pt x="156553" y="22983"/>
                    </a:cubicBezTo>
                    <a:cubicBezTo>
                      <a:pt x="156553" y="10215"/>
                      <a:pt x="146330" y="0"/>
                      <a:pt x="134189" y="0"/>
                    </a:cubicBezTo>
                    <a:cubicBezTo>
                      <a:pt x="122048" y="0"/>
                      <a:pt x="111185" y="10215"/>
                      <a:pt x="111185" y="22344"/>
                    </a:cubicBezTo>
                    <a:cubicBezTo>
                      <a:pt x="111185" y="27451"/>
                      <a:pt x="112463" y="31920"/>
                      <a:pt x="115658" y="36389"/>
                    </a:cubicBezTo>
                    <a:lnTo>
                      <a:pt x="108629" y="49157"/>
                    </a:lnTo>
                    <a:lnTo>
                      <a:pt x="108629" y="49157"/>
                    </a:lnTo>
                    <a:lnTo>
                      <a:pt x="90737" y="49157"/>
                    </a:lnTo>
                    <a:lnTo>
                      <a:pt x="90737" y="49157"/>
                    </a:lnTo>
                    <a:lnTo>
                      <a:pt x="84347" y="37027"/>
                    </a:lnTo>
                    <a:cubicBezTo>
                      <a:pt x="87542" y="33197"/>
                      <a:pt x="88820" y="28090"/>
                      <a:pt x="89459" y="22983"/>
                    </a:cubicBezTo>
                    <a:cubicBezTo>
                      <a:pt x="89459" y="10215"/>
                      <a:pt x="79235" y="0"/>
                      <a:pt x="66456" y="0"/>
                    </a:cubicBezTo>
                    <a:cubicBezTo>
                      <a:pt x="53676" y="0"/>
                      <a:pt x="43451" y="10215"/>
                      <a:pt x="43451" y="22983"/>
                    </a:cubicBezTo>
                    <a:cubicBezTo>
                      <a:pt x="43451" y="35751"/>
                      <a:pt x="53676" y="45965"/>
                      <a:pt x="66456" y="45965"/>
                    </a:cubicBezTo>
                    <a:lnTo>
                      <a:pt x="66456" y="45965"/>
                    </a:lnTo>
                    <a:cubicBezTo>
                      <a:pt x="69011" y="45965"/>
                      <a:pt x="71567" y="45327"/>
                      <a:pt x="74123" y="44688"/>
                    </a:cubicBezTo>
                    <a:lnTo>
                      <a:pt x="76679" y="49795"/>
                    </a:lnTo>
                    <a:lnTo>
                      <a:pt x="37701" y="49795"/>
                    </a:lnTo>
                    <a:cubicBezTo>
                      <a:pt x="17253" y="49795"/>
                      <a:pt x="0" y="66394"/>
                      <a:pt x="0" y="87461"/>
                    </a:cubicBezTo>
                    <a:lnTo>
                      <a:pt x="0" y="174921"/>
                    </a:lnTo>
                    <a:cubicBezTo>
                      <a:pt x="0" y="195350"/>
                      <a:pt x="16614" y="212587"/>
                      <a:pt x="37701" y="212587"/>
                    </a:cubicBezTo>
                    <a:lnTo>
                      <a:pt x="162943" y="212587"/>
                    </a:lnTo>
                    <a:cubicBezTo>
                      <a:pt x="183391" y="212587"/>
                      <a:pt x="200644" y="195988"/>
                      <a:pt x="200644" y="174921"/>
                    </a:cubicBezTo>
                    <a:lnTo>
                      <a:pt x="200644" y="87461"/>
                    </a:lnTo>
                    <a:cubicBezTo>
                      <a:pt x="200005" y="66394"/>
                      <a:pt x="183391" y="49157"/>
                      <a:pt x="162305" y="49157"/>
                    </a:cubicBezTo>
                    <a:cubicBezTo>
                      <a:pt x="162305" y="49157"/>
                      <a:pt x="162305" y="49157"/>
                      <a:pt x="162305" y="49157"/>
                    </a:cubicBezTo>
                    <a:close/>
                    <a:moveTo>
                      <a:pt x="133550" y="13407"/>
                    </a:moveTo>
                    <a:cubicBezTo>
                      <a:pt x="139301" y="13407"/>
                      <a:pt x="143774" y="17875"/>
                      <a:pt x="143774" y="23621"/>
                    </a:cubicBezTo>
                    <a:cubicBezTo>
                      <a:pt x="143774" y="29367"/>
                      <a:pt x="139301" y="33835"/>
                      <a:pt x="133550" y="33835"/>
                    </a:cubicBezTo>
                    <a:cubicBezTo>
                      <a:pt x="127799" y="33835"/>
                      <a:pt x="123326" y="29367"/>
                      <a:pt x="123326" y="23621"/>
                    </a:cubicBezTo>
                    <a:lnTo>
                      <a:pt x="123326" y="23621"/>
                    </a:lnTo>
                    <a:cubicBezTo>
                      <a:pt x="123326" y="17875"/>
                      <a:pt x="127799" y="13407"/>
                      <a:pt x="133550" y="13407"/>
                    </a:cubicBezTo>
                    <a:close/>
                    <a:moveTo>
                      <a:pt x="55593" y="22983"/>
                    </a:moveTo>
                    <a:cubicBezTo>
                      <a:pt x="55593" y="17237"/>
                      <a:pt x="60066" y="12768"/>
                      <a:pt x="65816" y="12768"/>
                    </a:cubicBezTo>
                    <a:cubicBezTo>
                      <a:pt x="71567" y="12768"/>
                      <a:pt x="76040" y="17237"/>
                      <a:pt x="76040" y="22983"/>
                    </a:cubicBezTo>
                    <a:cubicBezTo>
                      <a:pt x="76040" y="28728"/>
                      <a:pt x="71567" y="33197"/>
                      <a:pt x="65816" y="33197"/>
                    </a:cubicBezTo>
                    <a:lnTo>
                      <a:pt x="65816" y="33197"/>
                    </a:lnTo>
                    <a:cubicBezTo>
                      <a:pt x="60066" y="33197"/>
                      <a:pt x="55593" y="28728"/>
                      <a:pt x="55593" y="22983"/>
                    </a:cubicBezTo>
                    <a:close/>
                    <a:moveTo>
                      <a:pt x="186586" y="174283"/>
                    </a:moveTo>
                    <a:cubicBezTo>
                      <a:pt x="186586" y="187689"/>
                      <a:pt x="175723" y="199180"/>
                      <a:pt x="161665" y="199180"/>
                    </a:cubicBezTo>
                    <a:lnTo>
                      <a:pt x="36423" y="199180"/>
                    </a:lnTo>
                    <a:cubicBezTo>
                      <a:pt x="23004" y="199180"/>
                      <a:pt x="11502" y="188327"/>
                      <a:pt x="11502" y="174283"/>
                    </a:cubicBezTo>
                    <a:lnTo>
                      <a:pt x="11502" y="86822"/>
                    </a:lnTo>
                    <a:cubicBezTo>
                      <a:pt x="11502" y="73416"/>
                      <a:pt x="22365" y="61925"/>
                      <a:pt x="36423" y="61925"/>
                    </a:cubicBezTo>
                    <a:lnTo>
                      <a:pt x="161665" y="61925"/>
                    </a:lnTo>
                    <a:cubicBezTo>
                      <a:pt x="175084" y="61925"/>
                      <a:pt x="186586" y="72778"/>
                      <a:pt x="186586" y="86822"/>
                    </a:cubicBezTo>
                    <a:lnTo>
                      <a:pt x="186586" y="174283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Graphic 4">
                <a:extLst>
                  <a:ext uri="{FF2B5EF4-FFF2-40B4-BE49-F238E27FC236}">
                    <a16:creationId xmlns:a16="http://schemas.microsoft.com/office/drawing/2014/main" id="{D6220E6B-CA7B-6A5E-EF31-57DD20E90DB7}"/>
                  </a:ext>
                </a:extLst>
              </p:cNvPr>
              <p:cNvSpPr/>
              <p:nvPr/>
            </p:nvSpPr>
            <p:spPr>
              <a:xfrm>
                <a:off x="5836568" y="4048245"/>
                <a:ext cx="116935" cy="12767"/>
              </a:xfrm>
              <a:custGeom>
                <a:avLst/>
                <a:gdLst>
                  <a:gd name="connsiteX0" fmla="*/ 110546 w 116935"/>
                  <a:gd name="connsiteY0" fmla="*/ 0 h 12767"/>
                  <a:gd name="connsiteX1" fmla="*/ 6390 w 116935"/>
                  <a:gd name="connsiteY1" fmla="*/ 0 h 12767"/>
                  <a:gd name="connsiteX2" fmla="*/ 0 w 116935"/>
                  <a:gd name="connsiteY2" fmla="*/ 6384 h 12767"/>
                  <a:gd name="connsiteX3" fmla="*/ 6390 w 116935"/>
                  <a:gd name="connsiteY3" fmla="*/ 12768 h 12767"/>
                  <a:gd name="connsiteX4" fmla="*/ 110546 w 116935"/>
                  <a:gd name="connsiteY4" fmla="*/ 12768 h 12767"/>
                  <a:gd name="connsiteX5" fmla="*/ 116936 w 116935"/>
                  <a:gd name="connsiteY5" fmla="*/ 6384 h 12767"/>
                  <a:gd name="connsiteX6" fmla="*/ 110546 w 116935"/>
                  <a:gd name="connsiteY6" fmla="*/ 0 h 12767"/>
                  <a:gd name="connsiteX7" fmla="*/ 110546 w 116935"/>
                  <a:gd name="connsiteY7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935" h="12767">
                    <a:moveTo>
                      <a:pt x="110546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4"/>
                      <a:pt x="2556" y="12768"/>
                      <a:pt x="6390" y="12768"/>
                    </a:cubicBezTo>
                    <a:lnTo>
                      <a:pt x="110546" y="12768"/>
                    </a:lnTo>
                    <a:cubicBezTo>
                      <a:pt x="114380" y="12768"/>
                      <a:pt x="116936" y="10214"/>
                      <a:pt x="116936" y="6384"/>
                    </a:cubicBezTo>
                    <a:cubicBezTo>
                      <a:pt x="116936" y="2554"/>
                      <a:pt x="114380" y="0"/>
                      <a:pt x="110546" y="0"/>
                    </a:cubicBezTo>
                    <a:lnTo>
                      <a:pt x="110546" y="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Graphic 4">
                <a:extLst>
                  <a:ext uri="{FF2B5EF4-FFF2-40B4-BE49-F238E27FC236}">
                    <a16:creationId xmlns:a16="http://schemas.microsoft.com/office/drawing/2014/main" id="{C0B86039-ECF6-CC05-EEDE-7A6E8C1CC7A4}"/>
                  </a:ext>
                </a:extLst>
              </p:cNvPr>
              <p:cNvSpPr/>
              <p:nvPr/>
            </p:nvSpPr>
            <p:spPr>
              <a:xfrm>
                <a:off x="5855099" y="4103147"/>
                <a:ext cx="79874" cy="12767"/>
              </a:xfrm>
              <a:custGeom>
                <a:avLst/>
                <a:gdLst>
                  <a:gd name="connsiteX0" fmla="*/ 73484 w 79874"/>
                  <a:gd name="connsiteY0" fmla="*/ 0 h 12767"/>
                  <a:gd name="connsiteX1" fmla="*/ 6390 w 79874"/>
                  <a:gd name="connsiteY1" fmla="*/ 0 h 12767"/>
                  <a:gd name="connsiteX2" fmla="*/ 0 w 79874"/>
                  <a:gd name="connsiteY2" fmla="*/ 6384 h 12767"/>
                  <a:gd name="connsiteX3" fmla="*/ 6390 w 79874"/>
                  <a:gd name="connsiteY3" fmla="*/ 12768 h 12767"/>
                  <a:gd name="connsiteX4" fmla="*/ 73484 w 79874"/>
                  <a:gd name="connsiteY4" fmla="*/ 12768 h 12767"/>
                  <a:gd name="connsiteX5" fmla="*/ 79874 w 79874"/>
                  <a:gd name="connsiteY5" fmla="*/ 6384 h 12767"/>
                  <a:gd name="connsiteX6" fmla="*/ 73484 w 79874"/>
                  <a:gd name="connsiteY6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874" h="12767">
                    <a:moveTo>
                      <a:pt x="73484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5"/>
                      <a:pt x="2556" y="12768"/>
                      <a:pt x="6390" y="12768"/>
                    </a:cubicBezTo>
                    <a:lnTo>
                      <a:pt x="73484" y="12768"/>
                    </a:lnTo>
                    <a:cubicBezTo>
                      <a:pt x="77318" y="12768"/>
                      <a:pt x="79874" y="10215"/>
                      <a:pt x="79874" y="6384"/>
                    </a:cubicBezTo>
                    <a:cubicBezTo>
                      <a:pt x="79874" y="2554"/>
                      <a:pt x="77318" y="0"/>
                      <a:pt x="73484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Graphic 4">
                <a:extLst>
                  <a:ext uri="{FF2B5EF4-FFF2-40B4-BE49-F238E27FC236}">
                    <a16:creationId xmlns:a16="http://schemas.microsoft.com/office/drawing/2014/main" id="{82EFDD28-1F30-AAF4-14F5-205C6876E030}"/>
                  </a:ext>
                </a:extLst>
              </p:cNvPr>
              <p:cNvSpPr/>
              <p:nvPr/>
            </p:nvSpPr>
            <p:spPr>
              <a:xfrm>
                <a:off x="5855099" y="4125491"/>
                <a:ext cx="79874" cy="12767"/>
              </a:xfrm>
              <a:custGeom>
                <a:avLst/>
                <a:gdLst>
                  <a:gd name="connsiteX0" fmla="*/ 73484 w 79874"/>
                  <a:gd name="connsiteY0" fmla="*/ 0 h 12767"/>
                  <a:gd name="connsiteX1" fmla="*/ 6390 w 79874"/>
                  <a:gd name="connsiteY1" fmla="*/ 0 h 12767"/>
                  <a:gd name="connsiteX2" fmla="*/ 0 w 79874"/>
                  <a:gd name="connsiteY2" fmla="*/ 6384 h 12767"/>
                  <a:gd name="connsiteX3" fmla="*/ 6390 w 79874"/>
                  <a:gd name="connsiteY3" fmla="*/ 12768 h 12767"/>
                  <a:gd name="connsiteX4" fmla="*/ 73484 w 79874"/>
                  <a:gd name="connsiteY4" fmla="*/ 12768 h 12767"/>
                  <a:gd name="connsiteX5" fmla="*/ 79874 w 79874"/>
                  <a:gd name="connsiteY5" fmla="*/ 6384 h 12767"/>
                  <a:gd name="connsiteX6" fmla="*/ 73484 w 79874"/>
                  <a:gd name="connsiteY6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874" h="12767">
                    <a:moveTo>
                      <a:pt x="73484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5"/>
                      <a:pt x="2556" y="12768"/>
                      <a:pt x="6390" y="12768"/>
                    </a:cubicBezTo>
                    <a:lnTo>
                      <a:pt x="73484" y="12768"/>
                    </a:lnTo>
                    <a:cubicBezTo>
                      <a:pt x="77318" y="12768"/>
                      <a:pt x="79874" y="10215"/>
                      <a:pt x="79874" y="6384"/>
                    </a:cubicBezTo>
                    <a:cubicBezTo>
                      <a:pt x="79874" y="2554"/>
                      <a:pt x="77318" y="0"/>
                      <a:pt x="73484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Graphic 4">
                <a:extLst>
                  <a:ext uri="{FF2B5EF4-FFF2-40B4-BE49-F238E27FC236}">
                    <a16:creationId xmlns:a16="http://schemas.microsoft.com/office/drawing/2014/main" id="{7C28CD3B-B260-9513-1A7F-87B810B391BC}"/>
                  </a:ext>
                </a:extLst>
              </p:cNvPr>
              <p:cNvSpPr/>
              <p:nvPr/>
            </p:nvSpPr>
            <p:spPr>
              <a:xfrm>
                <a:off x="5839124" y="3974829"/>
                <a:ext cx="46007" cy="45964"/>
              </a:xfrm>
              <a:custGeom>
                <a:avLst/>
                <a:gdLst>
                  <a:gd name="connsiteX0" fmla="*/ 23004 w 46007"/>
                  <a:gd name="connsiteY0" fmla="*/ 45965 h 45964"/>
                  <a:gd name="connsiteX1" fmla="*/ 46008 w 46007"/>
                  <a:gd name="connsiteY1" fmla="*/ 22982 h 45964"/>
                  <a:gd name="connsiteX2" fmla="*/ 23004 w 46007"/>
                  <a:gd name="connsiteY2" fmla="*/ 0 h 45964"/>
                  <a:gd name="connsiteX3" fmla="*/ 0 w 46007"/>
                  <a:gd name="connsiteY3" fmla="*/ 22982 h 45964"/>
                  <a:gd name="connsiteX4" fmla="*/ 0 w 46007"/>
                  <a:gd name="connsiteY4" fmla="*/ 22982 h 45964"/>
                  <a:gd name="connsiteX5" fmla="*/ 23004 w 46007"/>
                  <a:gd name="connsiteY5" fmla="*/ 45965 h 45964"/>
                  <a:gd name="connsiteX6" fmla="*/ 23004 w 46007"/>
                  <a:gd name="connsiteY6" fmla="*/ 13406 h 45964"/>
                  <a:gd name="connsiteX7" fmla="*/ 33228 w 46007"/>
                  <a:gd name="connsiteY7" fmla="*/ 23621 h 45964"/>
                  <a:gd name="connsiteX8" fmla="*/ 23004 w 46007"/>
                  <a:gd name="connsiteY8" fmla="*/ 33835 h 45964"/>
                  <a:gd name="connsiteX9" fmla="*/ 12780 w 46007"/>
                  <a:gd name="connsiteY9" fmla="*/ 23621 h 45964"/>
                  <a:gd name="connsiteX10" fmla="*/ 12780 w 46007"/>
                  <a:gd name="connsiteY10" fmla="*/ 23621 h 45964"/>
                  <a:gd name="connsiteX11" fmla="*/ 23004 w 46007"/>
                  <a:gd name="connsiteY11" fmla="*/ 13406 h 45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007" h="45964">
                    <a:moveTo>
                      <a:pt x="23004" y="45965"/>
                    </a:moveTo>
                    <a:cubicBezTo>
                      <a:pt x="35784" y="45965"/>
                      <a:pt x="46008" y="35750"/>
                      <a:pt x="46008" y="22982"/>
                    </a:cubicBezTo>
                    <a:cubicBezTo>
                      <a:pt x="46008" y="10214"/>
                      <a:pt x="35784" y="0"/>
                      <a:pt x="23004" y="0"/>
                    </a:cubicBezTo>
                    <a:cubicBezTo>
                      <a:pt x="10224" y="0"/>
                      <a:pt x="0" y="10214"/>
                      <a:pt x="0" y="22982"/>
                    </a:cubicBezTo>
                    <a:lnTo>
                      <a:pt x="0" y="22982"/>
                    </a:lnTo>
                    <a:cubicBezTo>
                      <a:pt x="0" y="35750"/>
                      <a:pt x="10224" y="45965"/>
                      <a:pt x="23004" y="45965"/>
                    </a:cubicBezTo>
                    <a:close/>
                    <a:moveTo>
                      <a:pt x="23004" y="13406"/>
                    </a:moveTo>
                    <a:cubicBezTo>
                      <a:pt x="28755" y="13406"/>
                      <a:pt x="33228" y="17875"/>
                      <a:pt x="33228" y="23621"/>
                    </a:cubicBezTo>
                    <a:cubicBezTo>
                      <a:pt x="33228" y="29366"/>
                      <a:pt x="28755" y="33835"/>
                      <a:pt x="23004" y="33835"/>
                    </a:cubicBezTo>
                    <a:cubicBezTo>
                      <a:pt x="17253" y="33835"/>
                      <a:pt x="12780" y="29366"/>
                      <a:pt x="12780" y="23621"/>
                    </a:cubicBezTo>
                    <a:lnTo>
                      <a:pt x="12780" y="23621"/>
                    </a:lnTo>
                    <a:cubicBezTo>
                      <a:pt x="12780" y="17875"/>
                      <a:pt x="17253" y="13406"/>
                      <a:pt x="23004" y="13406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Graphic 4">
                <a:extLst>
                  <a:ext uri="{FF2B5EF4-FFF2-40B4-BE49-F238E27FC236}">
                    <a16:creationId xmlns:a16="http://schemas.microsoft.com/office/drawing/2014/main" id="{DF7C4F42-D729-E98A-D6E2-7556EEA71ECB}"/>
                  </a:ext>
                </a:extLst>
              </p:cNvPr>
              <p:cNvSpPr/>
              <p:nvPr/>
            </p:nvSpPr>
            <p:spPr>
              <a:xfrm>
                <a:off x="5901745" y="3974829"/>
                <a:ext cx="46007" cy="45964"/>
              </a:xfrm>
              <a:custGeom>
                <a:avLst/>
                <a:gdLst>
                  <a:gd name="connsiteX0" fmla="*/ 23004 w 46007"/>
                  <a:gd name="connsiteY0" fmla="*/ 45965 h 45964"/>
                  <a:gd name="connsiteX1" fmla="*/ 46008 w 46007"/>
                  <a:gd name="connsiteY1" fmla="*/ 22982 h 45964"/>
                  <a:gd name="connsiteX2" fmla="*/ 23004 w 46007"/>
                  <a:gd name="connsiteY2" fmla="*/ 0 h 45964"/>
                  <a:gd name="connsiteX3" fmla="*/ 0 w 46007"/>
                  <a:gd name="connsiteY3" fmla="*/ 22982 h 45964"/>
                  <a:gd name="connsiteX4" fmla="*/ 0 w 46007"/>
                  <a:gd name="connsiteY4" fmla="*/ 22982 h 45964"/>
                  <a:gd name="connsiteX5" fmla="*/ 23004 w 46007"/>
                  <a:gd name="connsiteY5" fmla="*/ 45965 h 45964"/>
                  <a:gd name="connsiteX6" fmla="*/ 23004 w 46007"/>
                  <a:gd name="connsiteY6" fmla="*/ 13406 h 45964"/>
                  <a:gd name="connsiteX7" fmla="*/ 33228 w 46007"/>
                  <a:gd name="connsiteY7" fmla="*/ 23621 h 45964"/>
                  <a:gd name="connsiteX8" fmla="*/ 23004 w 46007"/>
                  <a:gd name="connsiteY8" fmla="*/ 33835 h 45964"/>
                  <a:gd name="connsiteX9" fmla="*/ 12780 w 46007"/>
                  <a:gd name="connsiteY9" fmla="*/ 23621 h 45964"/>
                  <a:gd name="connsiteX10" fmla="*/ 12780 w 46007"/>
                  <a:gd name="connsiteY10" fmla="*/ 23621 h 45964"/>
                  <a:gd name="connsiteX11" fmla="*/ 23004 w 46007"/>
                  <a:gd name="connsiteY11" fmla="*/ 13406 h 45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007" h="45964">
                    <a:moveTo>
                      <a:pt x="23004" y="45965"/>
                    </a:moveTo>
                    <a:cubicBezTo>
                      <a:pt x="35784" y="45965"/>
                      <a:pt x="46008" y="35750"/>
                      <a:pt x="46008" y="22982"/>
                    </a:cubicBezTo>
                    <a:cubicBezTo>
                      <a:pt x="46008" y="10214"/>
                      <a:pt x="35784" y="0"/>
                      <a:pt x="23004" y="0"/>
                    </a:cubicBezTo>
                    <a:cubicBezTo>
                      <a:pt x="10224" y="0"/>
                      <a:pt x="0" y="10214"/>
                      <a:pt x="0" y="22982"/>
                    </a:cubicBezTo>
                    <a:lnTo>
                      <a:pt x="0" y="22982"/>
                    </a:lnTo>
                    <a:cubicBezTo>
                      <a:pt x="639" y="35750"/>
                      <a:pt x="10863" y="45965"/>
                      <a:pt x="23004" y="45965"/>
                    </a:cubicBezTo>
                    <a:close/>
                    <a:moveTo>
                      <a:pt x="23004" y="13406"/>
                    </a:moveTo>
                    <a:cubicBezTo>
                      <a:pt x="28755" y="13406"/>
                      <a:pt x="33228" y="17875"/>
                      <a:pt x="33228" y="23621"/>
                    </a:cubicBezTo>
                    <a:cubicBezTo>
                      <a:pt x="33228" y="29366"/>
                      <a:pt x="28755" y="33835"/>
                      <a:pt x="23004" y="33835"/>
                    </a:cubicBezTo>
                    <a:cubicBezTo>
                      <a:pt x="17253" y="33835"/>
                      <a:pt x="12780" y="29366"/>
                      <a:pt x="12780" y="23621"/>
                    </a:cubicBezTo>
                    <a:lnTo>
                      <a:pt x="12780" y="23621"/>
                    </a:lnTo>
                    <a:cubicBezTo>
                      <a:pt x="13419" y="17875"/>
                      <a:pt x="17892" y="13406"/>
                      <a:pt x="23004" y="13406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7" name="Graphic 4">
              <a:extLst>
                <a:ext uri="{FF2B5EF4-FFF2-40B4-BE49-F238E27FC236}">
                  <a16:creationId xmlns:a16="http://schemas.microsoft.com/office/drawing/2014/main" id="{FF662056-286C-909F-44D9-9781EF2BC689}"/>
                </a:ext>
              </a:extLst>
            </p:cNvPr>
            <p:cNvGrpSpPr/>
            <p:nvPr/>
          </p:nvGrpSpPr>
          <p:grpSpPr>
            <a:xfrm>
              <a:off x="8920700" y="4770011"/>
              <a:ext cx="688194" cy="687552"/>
              <a:chOff x="7801474" y="3824168"/>
              <a:chExt cx="362309" cy="361971"/>
            </a:xfrm>
            <a:solidFill>
              <a:srgbClr val="3899AA"/>
            </a:solidFill>
          </p:grpSpPr>
          <p:sp>
            <p:nvSpPr>
              <p:cNvPr id="58" name="Graphic 4">
                <a:extLst>
                  <a:ext uri="{FF2B5EF4-FFF2-40B4-BE49-F238E27FC236}">
                    <a16:creationId xmlns:a16="http://schemas.microsoft.com/office/drawing/2014/main" id="{597E9A38-22A9-4722-04F2-A7E9A0AFAEBC}"/>
                  </a:ext>
                </a:extLst>
              </p:cNvPr>
              <p:cNvSpPr/>
              <p:nvPr/>
            </p:nvSpPr>
            <p:spPr>
              <a:xfrm>
                <a:off x="7801474" y="3824168"/>
                <a:ext cx="362309" cy="361971"/>
              </a:xfrm>
              <a:custGeom>
                <a:avLst/>
                <a:gdLst>
                  <a:gd name="connsiteX0" fmla="*/ 181474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1 h 361971"/>
                  <a:gd name="connsiteX3" fmla="*/ 362309 w 362309"/>
                  <a:gd name="connsiteY3" fmla="*/ 181305 h 361971"/>
                  <a:gd name="connsiteX4" fmla="*/ 362309 w 362309"/>
                  <a:gd name="connsiteY4" fmla="*/ 181305 h 361971"/>
                  <a:gd name="connsiteX5" fmla="*/ 181474 w 362309"/>
                  <a:gd name="connsiteY5" fmla="*/ 0 h 361971"/>
                  <a:gd name="connsiteX6" fmla="*/ 181474 w 362309"/>
                  <a:gd name="connsiteY6" fmla="*/ 349204 h 361971"/>
                  <a:gd name="connsiteX7" fmla="*/ 12780 w 362309"/>
                  <a:gd name="connsiteY7" fmla="*/ 181305 h 361971"/>
                  <a:gd name="connsiteX8" fmla="*/ 180835 w 362309"/>
                  <a:gd name="connsiteY8" fmla="*/ 12768 h 361971"/>
                  <a:gd name="connsiteX9" fmla="*/ 349529 w 362309"/>
                  <a:gd name="connsiteY9" fmla="*/ 180667 h 361971"/>
                  <a:gd name="connsiteX10" fmla="*/ 349529 w 362309"/>
                  <a:gd name="connsiteY10" fmla="*/ 180667 h 361971"/>
                  <a:gd name="connsiteX11" fmla="*/ 181474 w 362309"/>
                  <a:gd name="connsiteY11" fmla="*/ 349204 h 361971"/>
                  <a:gd name="connsiteX12" fmla="*/ 181474 w 362309"/>
                  <a:gd name="connsiteY12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2309" h="361971">
                    <a:moveTo>
                      <a:pt x="181474" y="0"/>
                    </a:moveTo>
                    <a:cubicBezTo>
                      <a:pt x="81152" y="0"/>
                      <a:pt x="0" y="81076"/>
                      <a:pt x="0" y="180667"/>
                    </a:cubicBezTo>
                    <a:cubicBezTo>
                      <a:pt x="0" y="280895"/>
                      <a:pt x="81152" y="361971"/>
                      <a:pt x="180835" y="361971"/>
                    </a:cubicBezTo>
                    <a:cubicBezTo>
                      <a:pt x="281157" y="361971"/>
                      <a:pt x="362309" y="280895"/>
                      <a:pt x="362309" y="181305"/>
                    </a:cubicBezTo>
                    <a:cubicBezTo>
                      <a:pt x="362309" y="181305"/>
                      <a:pt x="362309" y="181305"/>
                      <a:pt x="362309" y="181305"/>
                    </a:cubicBezTo>
                    <a:cubicBezTo>
                      <a:pt x="362309" y="81076"/>
                      <a:pt x="281157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099"/>
                      <a:pt x="88181" y="12768"/>
                      <a:pt x="180835" y="12768"/>
                    </a:cubicBezTo>
                    <a:cubicBezTo>
                      <a:pt x="274128" y="12768"/>
                      <a:pt x="349529" y="88099"/>
                      <a:pt x="349529" y="180667"/>
                    </a:cubicBezTo>
                    <a:cubicBezTo>
                      <a:pt x="349529" y="180667"/>
                      <a:pt x="349529" y="180667"/>
                      <a:pt x="349529" y="180667"/>
                    </a:cubicBezTo>
                    <a:cubicBezTo>
                      <a:pt x="349529" y="273873"/>
                      <a:pt x="274128" y="349204"/>
                      <a:pt x="181474" y="349204"/>
                    </a:cubicBezTo>
                    <a:lnTo>
                      <a:pt x="181474" y="349204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Graphic 4">
                <a:extLst>
                  <a:ext uri="{FF2B5EF4-FFF2-40B4-BE49-F238E27FC236}">
                    <a16:creationId xmlns:a16="http://schemas.microsoft.com/office/drawing/2014/main" id="{687439EE-D8E8-BA90-86D8-5F082BCDFA05}"/>
                  </a:ext>
                </a:extLst>
              </p:cNvPr>
              <p:cNvSpPr/>
              <p:nvPr/>
            </p:nvSpPr>
            <p:spPr>
              <a:xfrm>
                <a:off x="7867290" y="3920566"/>
                <a:ext cx="68372" cy="68308"/>
              </a:xfrm>
              <a:custGeom>
                <a:avLst/>
                <a:gdLst>
                  <a:gd name="connsiteX0" fmla="*/ 34506 w 68372"/>
                  <a:gd name="connsiteY0" fmla="*/ 68309 h 68308"/>
                  <a:gd name="connsiteX1" fmla="*/ 68373 w 68372"/>
                  <a:gd name="connsiteY1" fmla="*/ 34474 h 68308"/>
                  <a:gd name="connsiteX2" fmla="*/ 34506 w 68372"/>
                  <a:gd name="connsiteY2" fmla="*/ 0 h 68308"/>
                  <a:gd name="connsiteX3" fmla="*/ 0 w 68372"/>
                  <a:gd name="connsiteY3" fmla="*/ 33835 h 68308"/>
                  <a:gd name="connsiteX4" fmla="*/ 0 w 68372"/>
                  <a:gd name="connsiteY4" fmla="*/ 33835 h 68308"/>
                  <a:gd name="connsiteX5" fmla="*/ 34506 w 68372"/>
                  <a:gd name="connsiteY5" fmla="*/ 68309 h 68308"/>
                  <a:gd name="connsiteX6" fmla="*/ 34506 w 68372"/>
                  <a:gd name="connsiteY6" fmla="*/ 13406 h 68308"/>
                  <a:gd name="connsiteX7" fmla="*/ 55593 w 68372"/>
                  <a:gd name="connsiteY7" fmla="*/ 34474 h 68308"/>
                  <a:gd name="connsiteX8" fmla="*/ 34506 w 68372"/>
                  <a:gd name="connsiteY8" fmla="*/ 56179 h 68308"/>
                  <a:gd name="connsiteX9" fmla="*/ 12780 w 68372"/>
                  <a:gd name="connsiteY9" fmla="*/ 35112 h 68308"/>
                  <a:gd name="connsiteX10" fmla="*/ 12780 w 68372"/>
                  <a:gd name="connsiteY10" fmla="*/ 35112 h 68308"/>
                  <a:gd name="connsiteX11" fmla="*/ 34506 w 68372"/>
                  <a:gd name="connsiteY11" fmla="*/ 13406 h 6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8372" h="68308">
                    <a:moveTo>
                      <a:pt x="34506" y="68309"/>
                    </a:moveTo>
                    <a:cubicBezTo>
                      <a:pt x="53037" y="68309"/>
                      <a:pt x="68373" y="52987"/>
                      <a:pt x="68373" y="34474"/>
                    </a:cubicBezTo>
                    <a:cubicBezTo>
                      <a:pt x="68373" y="15960"/>
                      <a:pt x="53037" y="638"/>
                      <a:pt x="34506" y="0"/>
                    </a:cubicBezTo>
                    <a:cubicBezTo>
                      <a:pt x="15975" y="0"/>
                      <a:pt x="640" y="15322"/>
                      <a:pt x="0" y="33835"/>
                    </a:cubicBezTo>
                    <a:cubicBezTo>
                      <a:pt x="0" y="33835"/>
                      <a:pt x="0" y="33835"/>
                      <a:pt x="0" y="33835"/>
                    </a:cubicBezTo>
                    <a:cubicBezTo>
                      <a:pt x="0" y="53626"/>
                      <a:pt x="15336" y="68309"/>
                      <a:pt x="34506" y="68309"/>
                    </a:cubicBezTo>
                    <a:close/>
                    <a:moveTo>
                      <a:pt x="34506" y="13406"/>
                    </a:moveTo>
                    <a:cubicBezTo>
                      <a:pt x="46008" y="13406"/>
                      <a:pt x="55593" y="22982"/>
                      <a:pt x="55593" y="34474"/>
                    </a:cubicBezTo>
                    <a:cubicBezTo>
                      <a:pt x="55593" y="45965"/>
                      <a:pt x="46008" y="55541"/>
                      <a:pt x="34506" y="56179"/>
                    </a:cubicBezTo>
                    <a:cubicBezTo>
                      <a:pt x="23004" y="56179"/>
                      <a:pt x="13419" y="46603"/>
                      <a:pt x="12780" y="35112"/>
                    </a:cubicBezTo>
                    <a:cubicBezTo>
                      <a:pt x="12780" y="35112"/>
                      <a:pt x="12780" y="35112"/>
                      <a:pt x="12780" y="35112"/>
                    </a:cubicBezTo>
                    <a:cubicBezTo>
                      <a:pt x="12780" y="22982"/>
                      <a:pt x="22365" y="13406"/>
                      <a:pt x="34506" y="13406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Graphic 4">
                <a:extLst>
                  <a:ext uri="{FF2B5EF4-FFF2-40B4-BE49-F238E27FC236}">
                    <a16:creationId xmlns:a16="http://schemas.microsoft.com/office/drawing/2014/main" id="{D17E96C6-A191-050A-C158-76B9EE9F6B12}"/>
                  </a:ext>
                </a:extLst>
              </p:cNvPr>
              <p:cNvSpPr/>
              <p:nvPr/>
            </p:nvSpPr>
            <p:spPr>
              <a:xfrm>
                <a:off x="7860777" y="3991428"/>
                <a:ext cx="143596" cy="129594"/>
              </a:xfrm>
              <a:custGeom>
                <a:avLst/>
                <a:gdLst>
                  <a:gd name="connsiteX0" fmla="*/ 128561 w 143596"/>
                  <a:gd name="connsiteY0" fmla="*/ 75331 h 129594"/>
                  <a:gd name="connsiteX1" fmla="*/ 100445 w 143596"/>
                  <a:gd name="connsiteY1" fmla="*/ 71500 h 129594"/>
                  <a:gd name="connsiteX2" fmla="*/ 99166 w 143596"/>
                  <a:gd name="connsiteY2" fmla="*/ 43411 h 129594"/>
                  <a:gd name="connsiteX3" fmla="*/ 56993 w 143596"/>
                  <a:gd name="connsiteY3" fmla="*/ 1915 h 129594"/>
                  <a:gd name="connsiteX4" fmla="*/ 12263 w 143596"/>
                  <a:gd name="connsiteY4" fmla="*/ 1915 h 129594"/>
                  <a:gd name="connsiteX5" fmla="*/ 4596 w 143596"/>
                  <a:gd name="connsiteY5" fmla="*/ 4469 h 129594"/>
                  <a:gd name="connsiteX6" fmla="*/ 122 w 143596"/>
                  <a:gd name="connsiteY6" fmla="*/ 12768 h 129594"/>
                  <a:gd name="connsiteX7" fmla="*/ 8430 w 143596"/>
                  <a:gd name="connsiteY7" fmla="*/ 17237 h 129594"/>
                  <a:gd name="connsiteX8" fmla="*/ 9068 w 143596"/>
                  <a:gd name="connsiteY8" fmla="*/ 17237 h 129594"/>
                  <a:gd name="connsiteX9" fmla="*/ 14820 w 143596"/>
                  <a:gd name="connsiteY9" fmla="*/ 15322 h 129594"/>
                  <a:gd name="connsiteX10" fmla="*/ 55076 w 143596"/>
                  <a:gd name="connsiteY10" fmla="*/ 15322 h 129594"/>
                  <a:gd name="connsiteX11" fmla="*/ 86387 w 143596"/>
                  <a:gd name="connsiteY11" fmla="*/ 44049 h 129594"/>
                  <a:gd name="connsiteX12" fmla="*/ 87665 w 143596"/>
                  <a:gd name="connsiteY12" fmla="*/ 77246 h 129594"/>
                  <a:gd name="connsiteX13" fmla="*/ 93416 w 143596"/>
                  <a:gd name="connsiteY13" fmla="*/ 83630 h 129594"/>
                  <a:gd name="connsiteX14" fmla="*/ 126643 w 143596"/>
                  <a:gd name="connsiteY14" fmla="*/ 88099 h 129594"/>
                  <a:gd name="connsiteX15" fmla="*/ 131116 w 143596"/>
                  <a:gd name="connsiteY15" fmla="*/ 94483 h 129594"/>
                  <a:gd name="connsiteX16" fmla="*/ 131116 w 143596"/>
                  <a:gd name="connsiteY16" fmla="*/ 94483 h 129594"/>
                  <a:gd name="connsiteX17" fmla="*/ 126005 w 143596"/>
                  <a:gd name="connsiteY17" fmla="*/ 97675 h 129594"/>
                  <a:gd name="connsiteX18" fmla="*/ 80636 w 143596"/>
                  <a:gd name="connsiteY18" fmla="*/ 91291 h 129594"/>
                  <a:gd name="connsiteX19" fmla="*/ 71690 w 143596"/>
                  <a:gd name="connsiteY19" fmla="*/ 81076 h 129594"/>
                  <a:gd name="connsiteX20" fmla="*/ 70412 w 143596"/>
                  <a:gd name="connsiteY20" fmla="*/ 42134 h 129594"/>
                  <a:gd name="connsiteX21" fmla="*/ 64022 w 143596"/>
                  <a:gd name="connsiteY21" fmla="*/ 35750 h 129594"/>
                  <a:gd name="connsiteX22" fmla="*/ 57632 w 143596"/>
                  <a:gd name="connsiteY22" fmla="*/ 42134 h 129594"/>
                  <a:gd name="connsiteX23" fmla="*/ 58910 w 143596"/>
                  <a:gd name="connsiteY23" fmla="*/ 81076 h 129594"/>
                  <a:gd name="connsiteX24" fmla="*/ 62744 w 143596"/>
                  <a:gd name="connsiteY24" fmla="*/ 93206 h 129594"/>
                  <a:gd name="connsiteX25" fmla="*/ 62744 w 143596"/>
                  <a:gd name="connsiteY25" fmla="*/ 123211 h 129594"/>
                  <a:gd name="connsiteX26" fmla="*/ 69134 w 143596"/>
                  <a:gd name="connsiteY26" fmla="*/ 129595 h 129594"/>
                  <a:gd name="connsiteX27" fmla="*/ 75524 w 143596"/>
                  <a:gd name="connsiteY27" fmla="*/ 123211 h 129594"/>
                  <a:gd name="connsiteX28" fmla="*/ 75524 w 143596"/>
                  <a:gd name="connsiteY28" fmla="*/ 102782 h 129594"/>
                  <a:gd name="connsiteX29" fmla="*/ 78719 w 143596"/>
                  <a:gd name="connsiteY29" fmla="*/ 103420 h 129594"/>
                  <a:gd name="connsiteX30" fmla="*/ 124087 w 143596"/>
                  <a:gd name="connsiteY30" fmla="*/ 109804 h 129594"/>
                  <a:gd name="connsiteX31" fmla="*/ 126005 w 143596"/>
                  <a:gd name="connsiteY31" fmla="*/ 109804 h 129594"/>
                  <a:gd name="connsiteX32" fmla="*/ 143257 w 143596"/>
                  <a:gd name="connsiteY32" fmla="*/ 96398 h 129594"/>
                  <a:gd name="connsiteX33" fmla="*/ 143257 w 143596"/>
                  <a:gd name="connsiteY33" fmla="*/ 95760 h 129594"/>
                  <a:gd name="connsiteX34" fmla="*/ 128561 w 143596"/>
                  <a:gd name="connsiteY34" fmla="*/ 75331 h 129594"/>
                  <a:gd name="connsiteX35" fmla="*/ 128561 w 143596"/>
                  <a:gd name="connsiteY35" fmla="*/ 75331 h 12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43596" h="129594">
                    <a:moveTo>
                      <a:pt x="128561" y="75331"/>
                    </a:moveTo>
                    <a:lnTo>
                      <a:pt x="100445" y="71500"/>
                    </a:lnTo>
                    <a:lnTo>
                      <a:pt x="99166" y="43411"/>
                    </a:lnTo>
                    <a:cubicBezTo>
                      <a:pt x="97889" y="19152"/>
                      <a:pt x="77441" y="5107"/>
                      <a:pt x="56993" y="1915"/>
                    </a:cubicBezTo>
                    <a:cubicBezTo>
                      <a:pt x="42297" y="-638"/>
                      <a:pt x="26961" y="-638"/>
                      <a:pt x="12263" y="1915"/>
                    </a:cubicBezTo>
                    <a:cubicBezTo>
                      <a:pt x="9707" y="2554"/>
                      <a:pt x="7152" y="3192"/>
                      <a:pt x="4596" y="4469"/>
                    </a:cubicBezTo>
                    <a:cubicBezTo>
                      <a:pt x="1401" y="5746"/>
                      <a:pt x="-516" y="8938"/>
                      <a:pt x="122" y="12768"/>
                    </a:cubicBezTo>
                    <a:cubicBezTo>
                      <a:pt x="1401" y="15960"/>
                      <a:pt x="4596" y="17875"/>
                      <a:pt x="8430" y="17237"/>
                    </a:cubicBezTo>
                    <a:cubicBezTo>
                      <a:pt x="8430" y="17237"/>
                      <a:pt x="9068" y="17237"/>
                      <a:pt x="9068" y="17237"/>
                    </a:cubicBezTo>
                    <a:cubicBezTo>
                      <a:pt x="10986" y="16598"/>
                      <a:pt x="12902" y="15960"/>
                      <a:pt x="14820" y="15322"/>
                    </a:cubicBezTo>
                    <a:cubicBezTo>
                      <a:pt x="28238" y="12768"/>
                      <a:pt x="41657" y="12768"/>
                      <a:pt x="55076" y="15322"/>
                    </a:cubicBezTo>
                    <a:cubicBezTo>
                      <a:pt x="69773" y="17237"/>
                      <a:pt x="85748" y="27451"/>
                      <a:pt x="86387" y="44049"/>
                    </a:cubicBezTo>
                    <a:lnTo>
                      <a:pt x="87665" y="77246"/>
                    </a:lnTo>
                    <a:cubicBezTo>
                      <a:pt x="87665" y="80438"/>
                      <a:pt x="90221" y="82992"/>
                      <a:pt x="93416" y="83630"/>
                    </a:cubicBezTo>
                    <a:lnTo>
                      <a:pt x="126643" y="88099"/>
                    </a:lnTo>
                    <a:cubicBezTo>
                      <a:pt x="129838" y="88737"/>
                      <a:pt x="131756" y="91291"/>
                      <a:pt x="131116" y="94483"/>
                    </a:cubicBezTo>
                    <a:cubicBezTo>
                      <a:pt x="131116" y="94483"/>
                      <a:pt x="131116" y="94483"/>
                      <a:pt x="131116" y="94483"/>
                    </a:cubicBezTo>
                    <a:cubicBezTo>
                      <a:pt x="130477" y="97036"/>
                      <a:pt x="128561" y="98313"/>
                      <a:pt x="126005" y="97675"/>
                    </a:cubicBezTo>
                    <a:lnTo>
                      <a:pt x="80636" y="91291"/>
                    </a:lnTo>
                    <a:cubicBezTo>
                      <a:pt x="75524" y="90652"/>
                      <a:pt x="71690" y="86184"/>
                      <a:pt x="71690" y="81076"/>
                    </a:cubicBezTo>
                    <a:lnTo>
                      <a:pt x="70412" y="42134"/>
                    </a:lnTo>
                    <a:cubicBezTo>
                      <a:pt x="70412" y="38304"/>
                      <a:pt x="67217" y="35750"/>
                      <a:pt x="64022" y="35750"/>
                    </a:cubicBezTo>
                    <a:cubicBezTo>
                      <a:pt x="60188" y="35750"/>
                      <a:pt x="57632" y="38942"/>
                      <a:pt x="57632" y="42134"/>
                    </a:cubicBezTo>
                    <a:lnTo>
                      <a:pt x="58910" y="81076"/>
                    </a:lnTo>
                    <a:cubicBezTo>
                      <a:pt x="58910" y="85545"/>
                      <a:pt x="60827" y="90014"/>
                      <a:pt x="62744" y="93206"/>
                    </a:cubicBezTo>
                    <a:lnTo>
                      <a:pt x="62744" y="123211"/>
                    </a:lnTo>
                    <a:cubicBezTo>
                      <a:pt x="62744" y="127041"/>
                      <a:pt x="65300" y="129595"/>
                      <a:pt x="69134" y="129595"/>
                    </a:cubicBezTo>
                    <a:cubicBezTo>
                      <a:pt x="72968" y="129595"/>
                      <a:pt x="75524" y="127041"/>
                      <a:pt x="75524" y="123211"/>
                    </a:cubicBezTo>
                    <a:lnTo>
                      <a:pt x="75524" y="102782"/>
                    </a:lnTo>
                    <a:cubicBezTo>
                      <a:pt x="76802" y="102782"/>
                      <a:pt x="77441" y="103420"/>
                      <a:pt x="78719" y="103420"/>
                    </a:cubicBezTo>
                    <a:lnTo>
                      <a:pt x="124087" y="109804"/>
                    </a:lnTo>
                    <a:cubicBezTo>
                      <a:pt x="124726" y="109804"/>
                      <a:pt x="125366" y="109804"/>
                      <a:pt x="126005" y="109804"/>
                    </a:cubicBezTo>
                    <a:cubicBezTo>
                      <a:pt x="134311" y="109804"/>
                      <a:pt x="141341" y="104059"/>
                      <a:pt x="143257" y="96398"/>
                    </a:cubicBezTo>
                    <a:lnTo>
                      <a:pt x="143257" y="95760"/>
                    </a:lnTo>
                    <a:cubicBezTo>
                      <a:pt x="145174" y="86822"/>
                      <a:pt x="138784" y="77246"/>
                      <a:pt x="128561" y="75331"/>
                    </a:cubicBezTo>
                    <a:cubicBezTo>
                      <a:pt x="128561" y="75331"/>
                      <a:pt x="128561" y="75331"/>
                      <a:pt x="128561" y="75331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Graphic 4">
                <a:extLst>
                  <a:ext uri="{FF2B5EF4-FFF2-40B4-BE49-F238E27FC236}">
                    <a16:creationId xmlns:a16="http://schemas.microsoft.com/office/drawing/2014/main" id="{B3AC6BF6-8133-FDFB-5B3A-0626B2914097}"/>
                  </a:ext>
                </a:extLst>
              </p:cNvPr>
              <p:cNvSpPr/>
              <p:nvPr/>
            </p:nvSpPr>
            <p:spPr>
              <a:xfrm>
                <a:off x="7942052" y="3925035"/>
                <a:ext cx="161664" cy="148108"/>
              </a:xfrm>
              <a:custGeom>
                <a:avLst/>
                <a:gdLst>
                  <a:gd name="connsiteX0" fmla="*/ 140579 w 161664"/>
                  <a:gd name="connsiteY0" fmla="*/ 125126 h 148108"/>
                  <a:gd name="connsiteX1" fmla="*/ 161665 w 161664"/>
                  <a:gd name="connsiteY1" fmla="*/ 104059 h 148108"/>
                  <a:gd name="connsiteX2" fmla="*/ 161665 w 161664"/>
                  <a:gd name="connsiteY2" fmla="*/ 21067 h 148108"/>
                  <a:gd name="connsiteX3" fmla="*/ 140579 w 161664"/>
                  <a:gd name="connsiteY3" fmla="*/ 0 h 148108"/>
                  <a:gd name="connsiteX4" fmla="*/ 21086 w 161664"/>
                  <a:gd name="connsiteY4" fmla="*/ 0 h 148108"/>
                  <a:gd name="connsiteX5" fmla="*/ 0 w 161664"/>
                  <a:gd name="connsiteY5" fmla="*/ 21067 h 148108"/>
                  <a:gd name="connsiteX6" fmla="*/ 0 w 161664"/>
                  <a:gd name="connsiteY6" fmla="*/ 58733 h 148108"/>
                  <a:gd name="connsiteX7" fmla="*/ 6390 w 161664"/>
                  <a:gd name="connsiteY7" fmla="*/ 65117 h 148108"/>
                  <a:gd name="connsiteX8" fmla="*/ 12780 w 161664"/>
                  <a:gd name="connsiteY8" fmla="*/ 58733 h 148108"/>
                  <a:gd name="connsiteX9" fmla="*/ 12780 w 161664"/>
                  <a:gd name="connsiteY9" fmla="*/ 21067 h 148108"/>
                  <a:gd name="connsiteX10" fmla="*/ 21086 w 161664"/>
                  <a:gd name="connsiteY10" fmla="*/ 12768 h 148108"/>
                  <a:gd name="connsiteX11" fmla="*/ 140579 w 161664"/>
                  <a:gd name="connsiteY11" fmla="*/ 12768 h 148108"/>
                  <a:gd name="connsiteX12" fmla="*/ 148885 w 161664"/>
                  <a:gd name="connsiteY12" fmla="*/ 21067 h 148108"/>
                  <a:gd name="connsiteX13" fmla="*/ 148885 w 161664"/>
                  <a:gd name="connsiteY13" fmla="*/ 92568 h 148108"/>
                  <a:gd name="connsiteX14" fmla="*/ 113740 w 161664"/>
                  <a:gd name="connsiteY14" fmla="*/ 92568 h 148108"/>
                  <a:gd name="connsiteX15" fmla="*/ 80513 w 161664"/>
                  <a:gd name="connsiteY15" fmla="*/ 70224 h 148108"/>
                  <a:gd name="connsiteX16" fmla="*/ 47286 w 161664"/>
                  <a:gd name="connsiteY16" fmla="*/ 92568 h 148108"/>
                  <a:gd name="connsiteX17" fmla="*/ 34506 w 161664"/>
                  <a:gd name="connsiteY17" fmla="*/ 92568 h 148108"/>
                  <a:gd name="connsiteX18" fmla="*/ 28116 w 161664"/>
                  <a:gd name="connsiteY18" fmla="*/ 98952 h 148108"/>
                  <a:gd name="connsiteX19" fmla="*/ 34506 w 161664"/>
                  <a:gd name="connsiteY19" fmla="*/ 105336 h 148108"/>
                  <a:gd name="connsiteX20" fmla="*/ 148885 w 161664"/>
                  <a:gd name="connsiteY20" fmla="*/ 105336 h 148108"/>
                  <a:gd name="connsiteX21" fmla="*/ 140579 w 161664"/>
                  <a:gd name="connsiteY21" fmla="*/ 112997 h 148108"/>
                  <a:gd name="connsiteX22" fmla="*/ 34506 w 161664"/>
                  <a:gd name="connsiteY22" fmla="*/ 112997 h 148108"/>
                  <a:gd name="connsiteX23" fmla="*/ 28116 w 161664"/>
                  <a:gd name="connsiteY23" fmla="*/ 119381 h 148108"/>
                  <a:gd name="connsiteX24" fmla="*/ 34506 w 161664"/>
                  <a:gd name="connsiteY24" fmla="*/ 125765 h 148108"/>
                  <a:gd name="connsiteX25" fmla="*/ 61982 w 161664"/>
                  <a:gd name="connsiteY25" fmla="*/ 125765 h 148108"/>
                  <a:gd name="connsiteX26" fmla="*/ 61982 w 161664"/>
                  <a:gd name="connsiteY26" fmla="*/ 141724 h 148108"/>
                  <a:gd name="connsiteX27" fmla="*/ 68372 w 161664"/>
                  <a:gd name="connsiteY27" fmla="*/ 148108 h 148108"/>
                  <a:gd name="connsiteX28" fmla="*/ 155275 w 161664"/>
                  <a:gd name="connsiteY28" fmla="*/ 148108 h 148108"/>
                  <a:gd name="connsiteX29" fmla="*/ 161665 w 161664"/>
                  <a:gd name="connsiteY29" fmla="*/ 141724 h 148108"/>
                  <a:gd name="connsiteX30" fmla="*/ 155275 w 161664"/>
                  <a:gd name="connsiteY30" fmla="*/ 135341 h 148108"/>
                  <a:gd name="connsiteX31" fmla="*/ 99044 w 161664"/>
                  <a:gd name="connsiteY31" fmla="*/ 135341 h 148108"/>
                  <a:gd name="connsiteX32" fmla="*/ 99044 w 161664"/>
                  <a:gd name="connsiteY32" fmla="*/ 125765 h 148108"/>
                  <a:gd name="connsiteX33" fmla="*/ 140579 w 161664"/>
                  <a:gd name="connsiteY33" fmla="*/ 125126 h 148108"/>
                  <a:gd name="connsiteX34" fmla="*/ 81152 w 161664"/>
                  <a:gd name="connsiteY34" fmla="*/ 82353 h 148108"/>
                  <a:gd name="connsiteX35" fmla="*/ 100961 w 161664"/>
                  <a:gd name="connsiteY35" fmla="*/ 91929 h 148108"/>
                  <a:gd name="connsiteX36" fmla="*/ 61343 w 161664"/>
                  <a:gd name="connsiteY36" fmla="*/ 91929 h 148108"/>
                  <a:gd name="connsiteX37" fmla="*/ 81152 w 161664"/>
                  <a:gd name="connsiteY37" fmla="*/ 82353 h 148108"/>
                  <a:gd name="connsiteX38" fmla="*/ 81152 w 161664"/>
                  <a:gd name="connsiteY38" fmla="*/ 82353 h 148108"/>
                  <a:gd name="connsiteX39" fmla="*/ 86903 w 161664"/>
                  <a:gd name="connsiteY39" fmla="*/ 134702 h 148108"/>
                  <a:gd name="connsiteX40" fmla="*/ 75401 w 161664"/>
                  <a:gd name="connsiteY40" fmla="*/ 134702 h 148108"/>
                  <a:gd name="connsiteX41" fmla="*/ 75401 w 161664"/>
                  <a:gd name="connsiteY41" fmla="*/ 125126 h 148108"/>
                  <a:gd name="connsiteX42" fmla="*/ 86903 w 161664"/>
                  <a:gd name="connsiteY42" fmla="*/ 125126 h 148108"/>
                  <a:gd name="connsiteX43" fmla="*/ 86903 w 161664"/>
                  <a:gd name="connsiteY43" fmla="*/ 134702 h 148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61664" h="148108">
                    <a:moveTo>
                      <a:pt x="140579" y="125126"/>
                    </a:moveTo>
                    <a:cubicBezTo>
                      <a:pt x="152080" y="125126"/>
                      <a:pt x="161665" y="115550"/>
                      <a:pt x="161665" y="104059"/>
                    </a:cubicBezTo>
                    <a:lnTo>
                      <a:pt x="161665" y="21067"/>
                    </a:lnTo>
                    <a:cubicBezTo>
                      <a:pt x="161665" y="9576"/>
                      <a:pt x="152080" y="0"/>
                      <a:pt x="140579" y="0"/>
                    </a:cubicBezTo>
                    <a:lnTo>
                      <a:pt x="21086" y="0"/>
                    </a:lnTo>
                    <a:cubicBezTo>
                      <a:pt x="9585" y="0"/>
                      <a:pt x="0" y="9576"/>
                      <a:pt x="0" y="21067"/>
                    </a:cubicBezTo>
                    <a:lnTo>
                      <a:pt x="0" y="58733"/>
                    </a:lnTo>
                    <a:cubicBezTo>
                      <a:pt x="0" y="62563"/>
                      <a:pt x="2556" y="65117"/>
                      <a:pt x="6390" y="65117"/>
                    </a:cubicBezTo>
                    <a:cubicBezTo>
                      <a:pt x="10224" y="65117"/>
                      <a:pt x="12780" y="62563"/>
                      <a:pt x="12780" y="58733"/>
                    </a:cubicBezTo>
                    <a:lnTo>
                      <a:pt x="12780" y="21067"/>
                    </a:lnTo>
                    <a:cubicBezTo>
                      <a:pt x="12780" y="16598"/>
                      <a:pt x="16614" y="12768"/>
                      <a:pt x="21086" y="12768"/>
                    </a:cubicBezTo>
                    <a:lnTo>
                      <a:pt x="140579" y="12768"/>
                    </a:lnTo>
                    <a:cubicBezTo>
                      <a:pt x="145051" y="12768"/>
                      <a:pt x="148885" y="16598"/>
                      <a:pt x="148885" y="21067"/>
                    </a:cubicBezTo>
                    <a:lnTo>
                      <a:pt x="148885" y="92568"/>
                    </a:lnTo>
                    <a:lnTo>
                      <a:pt x="113740" y="92568"/>
                    </a:lnTo>
                    <a:cubicBezTo>
                      <a:pt x="111185" y="81077"/>
                      <a:pt x="101600" y="70224"/>
                      <a:pt x="80513" y="70224"/>
                    </a:cubicBezTo>
                    <a:cubicBezTo>
                      <a:pt x="59426" y="70224"/>
                      <a:pt x="49841" y="81077"/>
                      <a:pt x="47286" y="92568"/>
                    </a:cubicBezTo>
                    <a:lnTo>
                      <a:pt x="34506" y="92568"/>
                    </a:lnTo>
                    <a:cubicBezTo>
                      <a:pt x="30671" y="92568"/>
                      <a:pt x="28116" y="95121"/>
                      <a:pt x="28116" y="98952"/>
                    </a:cubicBezTo>
                    <a:cubicBezTo>
                      <a:pt x="28116" y="102782"/>
                      <a:pt x="30671" y="105336"/>
                      <a:pt x="34506" y="105336"/>
                    </a:cubicBezTo>
                    <a:lnTo>
                      <a:pt x="148885" y="105336"/>
                    </a:lnTo>
                    <a:cubicBezTo>
                      <a:pt x="148246" y="109805"/>
                      <a:pt x="145051" y="112997"/>
                      <a:pt x="140579" y="112997"/>
                    </a:cubicBezTo>
                    <a:lnTo>
                      <a:pt x="34506" y="112997"/>
                    </a:lnTo>
                    <a:cubicBezTo>
                      <a:pt x="30671" y="112997"/>
                      <a:pt x="28116" y="115550"/>
                      <a:pt x="28116" y="119381"/>
                    </a:cubicBezTo>
                    <a:cubicBezTo>
                      <a:pt x="28116" y="123211"/>
                      <a:pt x="30671" y="125765"/>
                      <a:pt x="34506" y="125765"/>
                    </a:cubicBezTo>
                    <a:lnTo>
                      <a:pt x="61982" y="125765"/>
                    </a:lnTo>
                    <a:lnTo>
                      <a:pt x="61982" y="141724"/>
                    </a:lnTo>
                    <a:cubicBezTo>
                      <a:pt x="61982" y="145555"/>
                      <a:pt x="64538" y="148108"/>
                      <a:pt x="68372" y="148108"/>
                    </a:cubicBezTo>
                    <a:lnTo>
                      <a:pt x="155275" y="148108"/>
                    </a:lnTo>
                    <a:cubicBezTo>
                      <a:pt x="159110" y="148108"/>
                      <a:pt x="161665" y="145555"/>
                      <a:pt x="161665" y="141724"/>
                    </a:cubicBezTo>
                    <a:cubicBezTo>
                      <a:pt x="161665" y="137894"/>
                      <a:pt x="159110" y="135341"/>
                      <a:pt x="155275" y="135341"/>
                    </a:cubicBezTo>
                    <a:lnTo>
                      <a:pt x="99044" y="135341"/>
                    </a:lnTo>
                    <a:lnTo>
                      <a:pt x="99044" y="125765"/>
                    </a:lnTo>
                    <a:lnTo>
                      <a:pt x="140579" y="125126"/>
                    </a:lnTo>
                    <a:close/>
                    <a:moveTo>
                      <a:pt x="81152" y="82353"/>
                    </a:moveTo>
                    <a:cubicBezTo>
                      <a:pt x="93932" y="82353"/>
                      <a:pt x="99044" y="87461"/>
                      <a:pt x="100961" y="91929"/>
                    </a:cubicBezTo>
                    <a:lnTo>
                      <a:pt x="61343" y="91929"/>
                    </a:lnTo>
                    <a:cubicBezTo>
                      <a:pt x="63261" y="87461"/>
                      <a:pt x="68372" y="82353"/>
                      <a:pt x="81152" y="82353"/>
                    </a:cubicBezTo>
                    <a:lnTo>
                      <a:pt x="81152" y="82353"/>
                    </a:lnTo>
                    <a:close/>
                    <a:moveTo>
                      <a:pt x="86903" y="134702"/>
                    </a:moveTo>
                    <a:lnTo>
                      <a:pt x="75401" y="134702"/>
                    </a:lnTo>
                    <a:lnTo>
                      <a:pt x="75401" y="125126"/>
                    </a:lnTo>
                    <a:lnTo>
                      <a:pt x="86903" y="125126"/>
                    </a:lnTo>
                    <a:lnTo>
                      <a:pt x="86903" y="134702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Graphic 4">
                <a:extLst>
                  <a:ext uri="{FF2B5EF4-FFF2-40B4-BE49-F238E27FC236}">
                    <a16:creationId xmlns:a16="http://schemas.microsoft.com/office/drawing/2014/main" id="{7211D26C-2585-EE24-30EB-33441E6879B4}"/>
                  </a:ext>
                </a:extLst>
              </p:cNvPr>
              <p:cNvSpPr/>
              <p:nvPr/>
            </p:nvSpPr>
            <p:spPr>
              <a:xfrm>
                <a:off x="7998283" y="3944186"/>
                <a:ext cx="48564" cy="48518"/>
              </a:xfrm>
              <a:custGeom>
                <a:avLst/>
                <a:gdLst>
                  <a:gd name="connsiteX0" fmla="*/ 48564 w 48564"/>
                  <a:gd name="connsiteY0" fmla="*/ 24259 h 48518"/>
                  <a:gd name="connsiteX1" fmla="*/ 24282 w 48564"/>
                  <a:gd name="connsiteY1" fmla="*/ 0 h 48518"/>
                  <a:gd name="connsiteX2" fmla="*/ 0 w 48564"/>
                  <a:gd name="connsiteY2" fmla="*/ 24259 h 48518"/>
                  <a:gd name="connsiteX3" fmla="*/ 24282 w 48564"/>
                  <a:gd name="connsiteY3" fmla="*/ 48518 h 48518"/>
                  <a:gd name="connsiteX4" fmla="*/ 48564 w 48564"/>
                  <a:gd name="connsiteY4" fmla="*/ 24259 h 48518"/>
                  <a:gd name="connsiteX5" fmla="*/ 48564 w 48564"/>
                  <a:gd name="connsiteY5" fmla="*/ 24259 h 48518"/>
                  <a:gd name="connsiteX6" fmla="*/ 13419 w 48564"/>
                  <a:gd name="connsiteY6" fmla="*/ 24259 h 48518"/>
                  <a:gd name="connsiteX7" fmla="*/ 24921 w 48564"/>
                  <a:gd name="connsiteY7" fmla="*/ 12768 h 48518"/>
                  <a:gd name="connsiteX8" fmla="*/ 36423 w 48564"/>
                  <a:gd name="connsiteY8" fmla="*/ 24259 h 48518"/>
                  <a:gd name="connsiteX9" fmla="*/ 24921 w 48564"/>
                  <a:gd name="connsiteY9" fmla="*/ 35750 h 48518"/>
                  <a:gd name="connsiteX10" fmla="*/ 24921 w 48564"/>
                  <a:gd name="connsiteY10" fmla="*/ 35750 h 48518"/>
                  <a:gd name="connsiteX11" fmla="*/ 13419 w 48564"/>
                  <a:gd name="connsiteY11" fmla="*/ 24259 h 48518"/>
                  <a:gd name="connsiteX12" fmla="*/ 13419 w 48564"/>
                  <a:gd name="connsiteY12" fmla="*/ 24259 h 48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8564" h="48518">
                    <a:moveTo>
                      <a:pt x="48564" y="24259"/>
                    </a:moveTo>
                    <a:cubicBezTo>
                      <a:pt x="48564" y="10853"/>
                      <a:pt x="37701" y="0"/>
                      <a:pt x="24282" y="0"/>
                    </a:cubicBezTo>
                    <a:cubicBezTo>
                      <a:pt x="10863" y="0"/>
                      <a:pt x="0" y="10853"/>
                      <a:pt x="0" y="24259"/>
                    </a:cubicBezTo>
                    <a:cubicBezTo>
                      <a:pt x="0" y="37665"/>
                      <a:pt x="10863" y="48518"/>
                      <a:pt x="24282" y="48518"/>
                    </a:cubicBezTo>
                    <a:cubicBezTo>
                      <a:pt x="37701" y="48518"/>
                      <a:pt x="48564" y="37665"/>
                      <a:pt x="48564" y="24259"/>
                    </a:cubicBezTo>
                    <a:cubicBezTo>
                      <a:pt x="48564" y="24259"/>
                      <a:pt x="48564" y="24259"/>
                      <a:pt x="48564" y="24259"/>
                    </a:cubicBezTo>
                    <a:close/>
                    <a:moveTo>
                      <a:pt x="13419" y="24259"/>
                    </a:moveTo>
                    <a:cubicBezTo>
                      <a:pt x="13419" y="17875"/>
                      <a:pt x="18531" y="12768"/>
                      <a:pt x="24921" y="12768"/>
                    </a:cubicBezTo>
                    <a:cubicBezTo>
                      <a:pt x="31311" y="12768"/>
                      <a:pt x="36423" y="17875"/>
                      <a:pt x="36423" y="24259"/>
                    </a:cubicBezTo>
                    <a:cubicBezTo>
                      <a:pt x="36423" y="30643"/>
                      <a:pt x="31311" y="35750"/>
                      <a:pt x="24921" y="35750"/>
                    </a:cubicBezTo>
                    <a:cubicBezTo>
                      <a:pt x="24921" y="35750"/>
                      <a:pt x="24921" y="35750"/>
                      <a:pt x="24921" y="35750"/>
                    </a:cubicBezTo>
                    <a:cubicBezTo>
                      <a:pt x="18531" y="35750"/>
                      <a:pt x="13419" y="30643"/>
                      <a:pt x="13419" y="24259"/>
                    </a:cubicBezTo>
                    <a:cubicBezTo>
                      <a:pt x="13419" y="24259"/>
                      <a:pt x="13419" y="24259"/>
                      <a:pt x="13419" y="24259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74017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blue and green dotted tunnel&#10;&#10;Description automatically generated with medium confidence">
            <a:extLst>
              <a:ext uri="{FF2B5EF4-FFF2-40B4-BE49-F238E27FC236}">
                <a16:creationId xmlns:a16="http://schemas.microsoft.com/office/drawing/2014/main" id="{9119CA83-3D8D-171E-DB97-6FC5E639C0E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24" r="24"/>
          <a:stretch>
            <a:fillRect/>
          </a:stretch>
        </p:blipFill>
        <p:spPr/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8505A3F-3797-EB97-C54A-6A78BA22D8A8}"/>
              </a:ext>
            </a:extLst>
          </p:cNvPr>
          <p:cNvSpPr/>
          <p:nvPr/>
        </p:nvSpPr>
        <p:spPr bwMode="gray">
          <a:xfrm flipV="1">
            <a:off x="0" y="0"/>
            <a:ext cx="12192000" cy="34290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0E20DD-1815-10B4-831B-A65A3A8081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MX" b="1" dirty="0">
                <a:solidFill>
                  <a:schemeClr val="bg1"/>
                </a:solidFill>
              </a:rPr>
              <a:t>Desafíos y consideraciones ética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926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4" ma:contentTypeDescription="Create a new document." ma:contentTypeScope="" ma:versionID="4c6617896dbd6066d418e5883b6ed562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beb73ffafaeb73ea273bd43962ac528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1B0BFA-154F-4FE6-8C46-2B0CF6A6EC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EE0193-3346-4FA1-A6C3-2BE7C7DE3BC4}">
  <ds:schemaRefs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  <ds:schemaRef ds:uri="8ee28f6f-733e-446a-845c-015b8614e1f7"/>
    <ds:schemaRef ds:uri="8f1e2369-70da-40d7-b978-99d0855b91b8"/>
    <ds:schemaRef ds:uri="http://schemas.microsoft.com/office/2006/documentManagement/typ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86733A4-93AF-4934-A5DC-8C070E6AFE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OnScreen_PPT_JUN2023_CO</Template>
  <TotalTime>0</TotalTime>
  <Words>1033</Words>
  <Application>Microsoft Macintosh PowerPoint</Application>
  <PresentationFormat>Panorámica</PresentationFormat>
  <Paragraphs>69</Paragraphs>
  <Slides>1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La integración de la inteligencia artificial  en la auditoría</vt:lpstr>
      <vt:lpstr>La integración de la inteligencia artificial en la auditoría</vt:lpstr>
      <vt:lpstr>Presentación de PowerPoint</vt:lpstr>
      <vt:lpstr>Beneficios de la inteligencia artificial en la auditoría </vt:lpstr>
      <vt:lpstr>Presentación de PowerPoint</vt:lpstr>
      <vt:lpstr>Tecnologías clave en la transformación digital de la auditoría</vt:lpstr>
      <vt:lpstr>Presentación de PowerPoint</vt:lpstr>
      <vt:lpstr>Casos de uso de inteligencia artificial en la auditoría </vt:lpstr>
      <vt:lpstr>Presentación de PowerPoint</vt:lpstr>
      <vt:lpstr>Desafíos y consideraciones éticas </vt:lpstr>
      <vt:lpstr>Conclusiones</vt:lpstr>
      <vt:lpstr>Contacto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8-28T16:01:49Z</dcterms:created>
  <dcterms:modified xsi:type="dcterms:W3CDTF">2023-08-29T22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4-30T22:39:5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b8dcbfc-9da1-4960-b70d-4d360a6d5a6c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97C0B5E8C28FBB4DB6BB6E6547CA8A70</vt:lpwstr>
  </property>
</Properties>
</file>